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60" r:id="rId5"/>
    <p:sldMasterId id="2147483648" r:id="rId6"/>
  </p:sldMasterIdLst>
  <p:notesMasterIdLst>
    <p:notesMasterId r:id="rId18"/>
  </p:notesMasterIdLst>
  <p:handoutMasterIdLst>
    <p:handoutMasterId r:id="rId19"/>
  </p:handoutMasterIdLst>
  <p:sldIdLst>
    <p:sldId id="269" r:id="rId7"/>
    <p:sldId id="2022" r:id="rId8"/>
    <p:sldId id="2021" r:id="rId9"/>
    <p:sldId id="2024" r:id="rId10"/>
    <p:sldId id="2023" r:id="rId11"/>
    <p:sldId id="2026" r:id="rId12"/>
    <p:sldId id="2027" r:id="rId13"/>
    <p:sldId id="2028" r:id="rId14"/>
    <p:sldId id="2012" r:id="rId15"/>
    <p:sldId id="2025" r:id="rId16"/>
    <p:sldId id="2020" r:id="rId17"/>
  </p:sldIdLst>
  <p:sldSz cx="12195175" cy="6859588"/>
  <p:notesSz cx="6662738" cy="9832975"/>
  <p:custDataLst>
    <p:tags r:id="rId2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45" userDrawn="1">
          <p15:clr>
            <a:srgbClr val="A4A3A4"/>
          </p15:clr>
        </p15:guide>
        <p15:guide id="2" pos="303" userDrawn="1">
          <p15:clr>
            <a:srgbClr val="A4A3A4"/>
          </p15:clr>
        </p15:guide>
        <p15:guide id="3" orient="horz" pos="9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7C141"/>
    <a:srgbClr val="FF0E05"/>
    <a:srgbClr val="0A3A88"/>
    <a:srgbClr val="007AC2"/>
    <a:srgbClr val="013A57"/>
    <a:srgbClr val="FFFFFF"/>
    <a:srgbClr val="000000"/>
    <a:srgbClr val="ACCC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0D515A-00FC-4A3E-B195-BCB3EDC04171}" v="128" dt="2023-06-22T07:46:10.2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144" y="180"/>
      </p:cViewPr>
      <p:guideLst>
        <p:guide orient="horz" pos="545"/>
        <p:guide pos="303"/>
        <p:guide orient="horz" pos="9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aan van Luik" userId="1bd86f1c-6fe6-40c1-aac8-4a56c1d30c55" providerId="ADAL" clId="{DB0D515A-00FC-4A3E-B195-BCB3EDC04171}"/>
    <pc:docChg chg="undo custSel addSld delSld modSld sldOrd">
      <pc:chgData name="Christiaan van Luik" userId="1bd86f1c-6fe6-40c1-aac8-4a56c1d30c55" providerId="ADAL" clId="{DB0D515A-00FC-4A3E-B195-BCB3EDC04171}" dt="2023-06-22T07:46:10.239" v="2683" actId="1076"/>
      <pc:docMkLst>
        <pc:docMk/>
      </pc:docMkLst>
      <pc:sldChg chg="addSp modSp mod">
        <pc:chgData name="Christiaan van Luik" userId="1bd86f1c-6fe6-40c1-aac8-4a56c1d30c55" providerId="ADAL" clId="{DB0D515A-00FC-4A3E-B195-BCB3EDC04171}" dt="2023-06-22T07:29:41.799" v="2668" actId="1076"/>
        <pc:sldMkLst>
          <pc:docMk/>
          <pc:sldMk cId="1821961237" sldId="269"/>
        </pc:sldMkLst>
        <pc:spChg chg="add mod">
          <ac:chgData name="Christiaan van Luik" userId="1bd86f1c-6fe6-40c1-aac8-4a56c1d30c55" providerId="ADAL" clId="{DB0D515A-00FC-4A3E-B195-BCB3EDC04171}" dt="2023-06-22T07:29:41.799" v="2668" actId="1076"/>
          <ac:spMkLst>
            <pc:docMk/>
            <pc:sldMk cId="1821961237" sldId="269"/>
            <ac:spMk id="2" creationId="{772960D3-F49B-91D1-4154-BAA85B7B7CCA}"/>
          </ac:spMkLst>
        </pc:spChg>
        <pc:picChg chg="mod">
          <ac:chgData name="Christiaan van Luik" userId="1bd86f1c-6fe6-40c1-aac8-4a56c1d30c55" providerId="ADAL" clId="{DB0D515A-00FC-4A3E-B195-BCB3EDC04171}" dt="2023-06-22T07:29:32.155" v="2666" actId="1076"/>
          <ac:picMkLst>
            <pc:docMk/>
            <pc:sldMk cId="1821961237" sldId="269"/>
            <ac:picMk id="3" creationId="{B0BB911C-CA80-8406-840E-163E6349E84B}"/>
          </ac:picMkLst>
        </pc:picChg>
        <pc:picChg chg="mod">
          <ac:chgData name="Christiaan van Luik" userId="1bd86f1c-6fe6-40c1-aac8-4a56c1d30c55" providerId="ADAL" clId="{DB0D515A-00FC-4A3E-B195-BCB3EDC04171}" dt="2023-06-22T07:28:29.089" v="2512" actId="1076"/>
          <ac:picMkLst>
            <pc:docMk/>
            <pc:sldMk cId="1821961237" sldId="269"/>
            <ac:picMk id="26" creationId="{5F246CC2-9A8C-E6D3-0B1D-51E9962950B2}"/>
          </ac:picMkLst>
        </pc:picChg>
      </pc:sldChg>
      <pc:sldChg chg="del">
        <pc:chgData name="Christiaan van Luik" userId="1bd86f1c-6fe6-40c1-aac8-4a56c1d30c55" providerId="ADAL" clId="{DB0D515A-00FC-4A3E-B195-BCB3EDC04171}" dt="2023-06-16T14:06:25.845" v="290" actId="47"/>
        <pc:sldMkLst>
          <pc:docMk/>
          <pc:sldMk cId="2013254375" sldId="2008"/>
        </pc:sldMkLst>
      </pc:sldChg>
      <pc:sldChg chg="add del ord">
        <pc:chgData name="Christiaan van Luik" userId="1bd86f1c-6fe6-40c1-aac8-4a56c1d30c55" providerId="ADAL" clId="{DB0D515A-00FC-4A3E-B195-BCB3EDC04171}" dt="2023-06-16T14:32:16.505" v="302" actId="47"/>
        <pc:sldMkLst>
          <pc:docMk/>
          <pc:sldMk cId="1337029079" sldId="2009"/>
        </pc:sldMkLst>
      </pc:sldChg>
      <pc:sldChg chg="addSp delSp modSp mod">
        <pc:chgData name="Christiaan van Luik" userId="1bd86f1c-6fe6-40c1-aac8-4a56c1d30c55" providerId="ADAL" clId="{DB0D515A-00FC-4A3E-B195-BCB3EDC04171}" dt="2023-06-20T11:46:17.059" v="1384" actId="1076"/>
        <pc:sldMkLst>
          <pc:docMk/>
          <pc:sldMk cId="3115204958" sldId="2012"/>
        </pc:sldMkLst>
        <pc:spChg chg="mod">
          <ac:chgData name="Christiaan van Luik" userId="1bd86f1c-6fe6-40c1-aac8-4a56c1d30c55" providerId="ADAL" clId="{DB0D515A-00FC-4A3E-B195-BCB3EDC04171}" dt="2023-06-20T11:43:16.371" v="1115" actId="20577"/>
          <ac:spMkLst>
            <pc:docMk/>
            <pc:sldMk cId="3115204958" sldId="2012"/>
            <ac:spMk id="3" creationId="{41B1EDF6-60D9-0B6C-11B0-15473A7DD113}"/>
          </ac:spMkLst>
        </pc:spChg>
        <pc:picChg chg="add del mod">
          <ac:chgData name="Christiaan van Luik" userId="1bd86f1c-6fe6-40c1-aac8-4a56c1d30c55" providerId="ADAL" clId="{DB0D515A-00FC-4A3E-B195-BCB3EDC04171}" dt="2023-06-20T11:45:17.335" v="1371" actId="478"/>
          <ac:picMkLst>
            <pc:docMk/>
            <pc:sldMk cId="3115204958" sldId="2012"/>
            <ac:picMk id="2050" creationId="{417C55B3-4947-2432-EC19-BB82043E9489}"/>
          </ac:picMkLst>
        </pc:picChg>
        <pc:picChg chg="add del mod">
          <ac:chgData name="Christiaan van Luik" userId="1bd86f1c-6fe6-40c1-aac8-4a56c1d30c55" providerId="ADAL" clId="{DB0D515A-00FC-4A3E-B195-BCB3EDC04171}" dt="2023-06-20T11:45:10.879" v="1368" actId="478"/>
          <ac:picMkLst>
            <pc:docMk/>
            <pc:sldMk cId="3115204958" sldId="2012"/>
            <ac:picMk id="2052" creationId="{FB9AE73B-B057-FE21-2C00-BD9DF19715E5}"/>
          </ac:picMkLst>
        </pc:picChg>
        <pc:picChg chg="add mod">
          <ac:chgData name="Christiaan van Luik" userId="1bd86f1c-6fe6-40c1-aac8-4a56c1d30c55" providerId="ADAL" clId="{DB0D515A-00FC-4A3E-B195-BCB3EDC04171}" dt="2023-06-20T11:45:56.195" v="1379" actId="732"/>
          <ac:picMkLst>
            <pc:docMk/>
            <pc:sldMk cId="3115204958" sldId="2012"/>
            <ac:picMk id="2054" creationId="{90BC4B73-9229-1FDC-8DF5-5DBEB204B23A}"/>
          </ac:picMkLst>
        </pc:picChg>
        <pc:picChg chg="add mod">
          <ac:chgData name="Christiaan van Luik" userId="1bd86f1c-6fe6-40c1-aac8-4a56c1d30c55" providerId="ADAL" clId="{DB0D515A-00FC-4A3E-B195-BCB3EDC04171}" dt="2023-06-20T11:46:07.324" v="1381" actId="1076"/>
          <ac:picMkLst>
            <pc:docMk/>
            <pc:sldMk cId="3115204958" sldId="2012"/>
            <ac:picMk id="2055" creationId="{264DDDEA-9408-F00B-54B5-1A0832B66AE0}"/>
          </ac:picMkLst>
        </pc:picChg>
        <pc:picChg chg="add mod">
          <ac:chgData name="Christiaan van Luik" userId="1bd86f1c-6fe6-40c1-aac8-4a56c1d30c55" providerId="ADAL" clId="{DB0D515A-00FC-4A3E-B195-BCB3EDC04171}" dt="2023-06-20T11:46:17.059" v="1384" actId="1076"/>
          <ac:picMkLst>
            <pc:docMk/>
            <pc:sldMk cId="3115204958" sldId="2012"/>
            <ac:picMk id="2057" creationId="{61B3F3C1-4810-5C28-06E8-0D40BFD2BCB3}"/>
          </ac:picMkLst>
        </pc:picChg>
      </pc:sldChg>
      <pc:sldChg chg="del">
        <pc:chgData name="Christiaan van Luik" userId="1bd86f1c-6fe6-40c1-aac8-4a56c1d30c55" providerId="ADAL" clId="{DB0D515A-00FC-4A3E-B195-BCB3EDC04171}" dt="2023-06-20T11:51:55.563" v="1554" actId="47"/>
        <pc:sldMkLst>
          <pc:docMk/>
          <pc:sldMk cId="4228211015" sldId="2015"/>
        </pc:sldMkLst>
      </pc:sldChg>
      <pc:sldChg chg="del">
        <pc:chgData name="Christiaan van Luik" userId="1bd86f1c-6fe6-40c1-aac8-4a56c1d30c55" providerId="ADAL" clId="{DB0D515A-00FC-4A3E-B195-BCB3EDC04171}" dt="2023-06-16T14:06:34.940" v="292" actId="47"/>
        <pc:sldMkLst>
          <pc:docMk/>
          <pc:sldMk cId="1430374347" sldId="2016"/>
        </pc:sldMkLst>
      </pc:sldChg>
      <pc:sldChg chg="modSp mod ord">
        <pc:chgData name="Christiaan van Luik" userId="1bd86f1c-6fe6-40c1-aac8-4a56c1d30c55" providerId="ADAL" clId="{DB0D515A-00FC-4A3E-B195-BCB3EDC04171}" dt="2023-06-20T11:48:06.375" v="1442" actId="20577"/>
        <pc:sldMkLst>
          <pc:docMk/>
          <pc:sldMk cId="3232573686" sldId="2021"/>
        </pc:sldMkLst>
        <pc:spChg chg="mod">
          <ac:chgData name="Christiaan van Luik" userId="1bd86f1c-6fe6-40c1-aac8-4a56c1d30c55" providerId="ADAL" clId="{DB0D515A-00FC-4A3E-B195-BCB3EDC04171}" dt="2023-06-20T11:48:06.375" v="1442" actId="20577"/>
          <ac:spMkLst>
            <pc:docMk/>
            <pc:sldMk cId="3232573686" sldId="2021"/>
            <ac:spMk id="5" creationId="{CAEE519F-5FB4-74E2-E8FA-70F4BA984F6E}"/>
          </ac:spMkLst>
        </pc:spChg>
      </pc:sldChg>
      <pc:sldChg chg="add del">
        <pc:chgData name="Christiaan van Luik" userId="1bd86f1c-6fe6-40c1-aac8-4a56c1d30c55" providerId="ADAL" clId="{DB0D515A-00FC-4A3E-B195-BCB3EDC04171}" dt="2023-06-16T14:02:59.247" v="1" actId="47"/>
        <pc:sldMkLst>
          <pc:docMk/>
          <pc:sldMk cId="680154858" sldId="2022"/>
        </pc:sldMkLst>
      </pc:sldChg>
      <pc:sldChg chg="modSp add mod ord">
        <pc:chgData name="Christiaan van Luik" userId="1bd86f1c-6fe6-40c1-aac8-4a56c1d30c55" providerId="ADAL" clId="{DB0D515A-00FC-4A3E-B195-BCB3EDC04171}" dt="2023-06-16T14:05:10.161" v="258" actId="20577"/>
        <pc:sldMkLst>
          <pc:docMk/>
          <pc:sldMk cId="2883658730" sldId="2022"/>
        </pc:sldMkLst>
        <pc:spChg chg="mod">
          <ac:chgData name="Christiaan van Luik" userId="1bd86f1c-6fe6-40c1-aac8-4a56c1d30c55" providerId="ADAL" clId="{DB0D515A-00FC-4A3E-B195-BCB3EDC04171}" dt="2023-06-16T14:03:08.061" v="17" actId="20577"/>
          <ac:spMkLst>
            <pc:docMk/>
            <pc:sldMk cId="2883658730" sldId="2022"/>
            <ac:spMk id="2" creationId="{C45CD1B2-F340-A957-6AC5-8B568934B304}"/>
          </ac:spMkLst>
        </pc:spChg>
        <pc:spChg chg="mod">
          <ac:chgData name="Christiaan van Luik" userId="1bd86f1c-6fe6-40c1-aac8-4a56c1d30c55" providerId="ADAL" clId="{DB0D515A-00FC-4A3E-B195-BCB3EDC04171}" dt="2023-06-16T14:05:10.161" v="258" actId="20577"/>
          <ac:spMkLst>
            <pc:docMk/>
            <pc:sldMk cId="2883658730" sldId="2022"/>
            <ac:spMk id="3" creationId="{41B1EDF6-60D9-0B6C-11B0-15473A7DD113}"/>
          </ac:spMkLst>
        </pc:spChg>
      </pc:sldChg>
      <pc:sldChg chg="addSp delSp modSp add mod">
        <pc:chgData name="Christiaan van Luik" userId="1bd86f1c-6fe6-40c1-aac8-4a56c1d30c55" providerId="ADAL" clId="{DB0D515A-00FC-4A3E-B195-BCB3EDC04171}" dt="2023-06-22T07:28:01.427" v="2510" actId="1076"/>
        <pc:sldMkLst>
          <pc:docMk/>
          <pc:sldMk cId="2451365995" sldId="2023"/>
        </pc:sldMkLst>
        <pc:spChg chg="mod">
          <ac:chgData name="Christiaan van Luik" userId="1bd86f1c-6fe6-40c1-aac8-4a56c1d30c55" providerId="ADAL" clId="{DB0D515A-00FC-4A3E-B195-BCB3EDC04171}" dt="2023-06-16T14:06:13.751" v="285" actId="20577"/>
          <ac:spMkLst>
            <pc:docMk/>
            <pc:sldMk cId="2451365995" sldId="2023"/>
            <ac:spMk id="2" creationId="{C45CD1B2-F340-A957-6AC5-8B568934B304}"/>
          </ac:spMkLst>
        </pc:spChg>
        <pc:spChg chg="add del mod">
          <ac:chgData name="Christiaan van Luik" userId="1bd86f1c-6fe6-40c1-aac8-4a56c1d30c55" providerId="ADAL" clId="{DB0D515A-00FC-4A3E-B195-BCB3EDC04171}" dt="2023-06-20T10:56:17.372" v="312" actId="478"/>
          <ac:spMkLst>
            <pc:docMk/>
            <pc:sldMk cId="2451365995" sldId="2023"/>
            <ac:spMk id="3" creationId="{35F67A75-7B58-72EF-8560-B82ED892BDDE}"/>
          </ac:spMkLst>
        </pc:spChg>
        <pc:spChg chg="add del mod">
          <ac:chgData name="Christiaan van Luik" userId="1bd86f1c-6fe6-40c1-aac8-4a56c1d30c55" providerId="ADAL" clId="{DB0D515A-00FC-4A3E-B195-BCB3EDC04171}" dt="2023-06-20T10:58:47.865" v="424" actId="478"/>
          <ac:spMkLst>
            <pc:docMk/>
            <pc:sldMk cId="2451365995" sldId="2023"/>
            <ac:spMk id="4" creationId="{83B5159D-D118-F105-31D8-8573B6A9C705}"/>
          </ac:spMkLst>
        </pc:spChg>
        <pc:spChg chg="del">
          <ac:chgData name="Christiaan van Luik" userId="1bd86f1c-6fe6-40c1-aac8-4a56c1d30c55" providerId="ADAL" clId="{DB0D515A-00FC-4A3E-B195-BCB3EDC04171}" dt="2023-06-16T14:06:17.431" v="287" actId="478"/>
          <ac:spMkLst>
            <pc:docMk/>
            <pc:sldMk cId="2451365995" sldId="2023"/>
            <ac:spMk id="4" creationId="{9C3A74C3-1502-AA88-BE3E-5F853035BA95}"/>
          </ac:spMkLst>
        </pc:spChg>
        <pc:spChg chg="add del mod">
          <ac:chgData name="Christiaan van Luik" userId="1bd86f1c-6fe6-40c1-aac8-4a56c1d30c55" providerId="ADAL" clId="{DB0D515A-00FC-4A3E-B195-BCB3EDC04171}" dt="2023-06-20T10:58:15.851" v="413" actId="478"/>
          <ac:spMkLst>
            <pc:docMk/>
            <pc:sldMk cId="2451365995" sldId="2023"/>
            <ac:spMk id="5" creationId="{31886FBF-953F-1F88-5B06-42B731FAF7D7}"/>
          </ac:spMkLst>
        </pc:spChg>
        <pc:spChg chg="del">
          <ac:chgData name="Christiaan van Luik" userId="1bd86f1c-6fe6-40c1-aac8-4a56c1d30c55" providerId="ADAL" clId="{DB0D515A-00FC-4A3E-B195-BCB3EDC04171}" dt="2023-06-16T14:06:18.966" v="288" actId="478"/>
          <ac:spMkLst>
            <pc:docMk/>
            <pc:sldMk cId="2451365995" sldId="2023"/>
            <ac:spMk id="5" creationId="{CAEE519F-5FB4-74E2-E8FA-70F4BA984F6E}"/>
          </ac:spMkLst>
        </pc:spChg>
        <pc:spChg chg="del">
          <ac:chgData name="Christiaan van Luik" userId="1bd86f1c-6fe6-40c1-aac8-4a56c1d30c55" providerId="ADAL" clId="{DB0D515A-00FC-4A3E-B195-BCB3EDC04171}" dt="2023-06-16T14:06:19.999" v="289" actId="478"/>
          <ac:spMkLst>
            <pc:docMk/>
            <pc:sldMk cId="2451365995" sldId="2023"/>
            <ac:spMk id="6" creationId="{0AC122E0-EE2B-B34E-0E40-4A12F08DE864}"/>
          </ac:spMkLst>
        </pc:spChg>
        <pc:spChg chg="add del mod">
          <ac:chgData name="Christiaan van Luik" userId="1bd86f1c-6fe6-40c1-aac8-4a56c1d30c55" providerId="ADAL" clId="{DB0D515A-00FC-4A3E-B195-BCB3EDC04171}" dt="2023-06-20T10:58:16.870" v="414" actId="478"/>
          <ac:spMkLst>
            <pc:docMk/>
            <pc:sldMk cId="2451365995" sldId="2023"/>
            <ac:spMk id="6" creationId="{F776B227-279F-E64C-3793-A3952A5EC5F1}"/>
          </ac:spMkLst>
        </pc:spChg>
        <pc:spChg chg="add mod">
          <ac:chgData name="Christiaan van Luik" userId="1bd86f1c-6fe6-40c1-aac8-4a56c1d30c55" providerId="ADAL" clId="{DB0D515A-00FC-4A3E-B195-BCB3EDC04171}" dt="2023-06-20T11:05:39.096" v="660" actId="14100"/>
          <ac:spMkLst>
            <pc:docMk/>
            <pc:sldMk cId="2451365995" sldId="2023"/>
            <ac:spMk id="7" creationId="{65C0ACB5-920E-DF10-A32C-9D0B3B4BBAC2}"/>
          </ac:spMkLst>
        </pc:spChg>
        <pc:spChg chg="add mod">
          <ac:chgData name="Christiaan van Luik" userId="1bd86f1c-6fe6-40c1-aac8-4a56c1d30c55" providerId="ADAL" clId="{DB0D515A-00FC-4A3E-B195-BCB3EDC04171}" dt="2023-06-20T11:05:41.428" v="661" actId="14100"/>
          <ac:spMkLst>
            <pc:docMk/>
            <pc:sldMk cId="2451365995" sldId="2023"/>
            <ac:spMk id="8" creationId="{CE0B6B04-846E-C91C-F638-71575DCE74C0}"/>
          </ac:spMkLst>
        </pc:spChg>
        <pc:spChg chg="add mod">
          <ac:chgData name="Christiaan van Luik" userId="1bd86f1c-6fe6-40c1-aac8-4a56c1d30c55" providerId="ADAL" clId="{DB0D515A-00FC-4A3E-B195-BCB3EDC04171}" dt="2023-06-20T11:05:39.096" v="660" actId="14100"/>
          <ac:spMkLst>
            <pc:docMk/>
            <pc:sldMk cId="2451365995" sldId="2023"/>
            <ac:spMk id="9" creationId="{E3823029-8C02-76A4-5146-EB82702CA210}"/>
          </ac:spMkLst>
        </pc:spChg>
        <pc:picChg chg="add mod">
          <ac:chgData name="Christiaan van Luik" userId="1bd86f1c-6fe6-40c1-aac8-4a56c1d30c55" providerId="ADAL" clId="{DB0D515A-00FC-4A3E-B195-BCB3EDC04171}" dt="2023-06-22T07:28:01.427" v="2510" actId="1076"/>
          <ac:picMkLst>
            <pc:docMk/>
            <pc:sldMk cId="2451365995" sldId="2023"/>
            <ac:picMk id="3" creationId="{7232BC66-5F74-7026-0A16-0979951D1080}"/>
          </ac:picMkLst>
        </pc:picChg>
        <pc:picChg chg="add del">
          <ac:chgData name="Christiaan van Luik" userId="1bd86f1c-6fe6-40c1-aac8-4a56c1d30c55" providerId="ADAL" clId="{DB0D515A-00FC-4A3E-B195-BCB3EDC04171}" dt="2023-06-20T10:56:56.410" v="340" actId="478"/>
          <ac:picMkLst>
            <pc:docMk/>
            <pc:sldMk cId="2451365995" sldId="2023"/>
            <ac:picMk id="1026" creationId="{5D703937-90A0-A905-5164-D6E6A0DAFCEF}"/>
          </ac:picMkLst>
        </pc:picChg>
        <pc:picChg chg="del">
          <ac:chgData name="Christiaan van Luik" userId="1bd86f1c-6fe6-40c1-aac8-4a56c1d30c55" providerId="ADAL" clId="{DB0D515A-00FC-4A3E-B195-BCB3EDC04171}" dt="2023-06-16T14:06:16.127" v="286" actId="478"/>
          <ac:picMkLst>
            <pc:docMk/>
            <pc:sldMk cId="2451365995" sldId="2023"/>
            <ac:picMk id="1026" creationId="{8F8C9A1C-B504-4954-A48B-E67286698E3C}"/>
          </ac:picMkLst>
        </pc:picChg>
        <pc:picChg chg="add mod">
          <ac:chgData name="Christiaan van Luik" userId="1bd86f1c-6fe6-40c1-aac8-4a56c1d30c55" providerId="ADAL" clId="{DB0D515A-00FC-4A3E-B195-BCB3EDC04171}" dt="2023-06-20T11:05:43.053" v="662" actId="1076"/>
          <ac:picMkLst>
            <pc:docMk/>
            <pc:sldMk cId="2451365995" sldId="2023"/>
            <ac:picMk id="1028" creationId="{6A6B5104-5FE8-5745-9C02-95380AF831B7}"/>
          </ac:picMkLst>
        </pc:picChg>
        <pc:picChg chg="add del mod">
          <ac:chgData name="Christiaan van Luik" userId="1bd86f1c-6fe6-40c1-aac8-4a56c1d30c55" providerId="ADAL" clId="{DB0D515A-00FC-4A3E-B195-BCB3EDC04171}" dt="2023-06-20T10:59:59.096" v="453" actId="478"/>
          <ac:picMkLst>
            <pc:docMk/>
            <pc:sldMk cId="2451365995" sldId="2023"/>
            <ac:picMk id="1030" creationId="{A5DEA4AA-3209-CC7D-735F-2E6D7A375FEA}"/>
          </ac:picMkLst>
        </pc:picChg>
        <pc:picChg chg="add del mod">
          <ac:chgData name="Christiaan van Luik" userId="1bd86f1c-6fe6-40c1-aac8-4a56c1d30c55" providerId="ADAL" clId="{DB0D515A-00FC-4A3E-B195-BCB3EDC04171}" dt="2023-06-20T11:00:32.351" v="518" actId="478"/>
          <ac:picMkLst>
            <pc:docMk/>
            <pc:sldMk cId="2451365995" sldId="2023"/>
            <ac:picMk id="1031" creationId="{C4B9E832-09A3-624B-528B-748451115B27}"/>
          </ac:picMkLst>
        </pc:picChg>
        <pc:picChg chg="add mod">
          <ac:chgData name="Christiaan van Luik" userId="1bd86f1c-6fe6-40c1-aac8-4a56c1d30c55" providerId="ADAL" clId="{DB0D515A-00FC-4A3E-B195-BCB3EDC04171}" dt="2023-06-22T07:27:53.731" v="2507" actId="1076"/>
          <ac:picMkLst>
            <pc:docMk/>
            <pc:sldMk cId="2451365995" sldId="2023"/>
            <ac:picMk id="1032" creationId="{0539AC05-3402-CC2C-4F5A-9C455336802F}"/>
          </ac:picMkLst>
        </pc:picChg>
      </pc:sldChg>
      <pc:sldChg chg="addSp delSp modSp add mod">
        <pc:chgData name="Christiaan van Luik" userId="1bd86f1c-6fe6-40c1-aac8-4a56c1d30c55" providerId="ADAL" clId="{DB0D515A-00FC-4A3E-B195-BCB3EDC04171}" dt="2023-06-16T14:32:09.269" v="301" actId="1076"/>
        <pc:sldMkLst>
          <pc:docMk/>
          <pc:sldMk cId="3431245442" sldId="2024"/>
        </pc:sldMkLst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8" creationId="{10003AF5-35F5-561A-AF1E-F05DCC81A214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17" creationId="{44332586-24F0-1491-D4A4-93BB8284D3C5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18" creationId="{AB6450FC-772D-818C-CE78-E1C5F5A48482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19" creationId="{A819934D-72B4-3911-1181-620CFCC681A8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0" creationId="{BDF8DDBB-9907-1CF8-D051-DAC1D08E5733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1" creationId="{6AE444B2-C07E-8F74-DF18-D6A55307BB2B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2" creationId="{307E30EF-B17A-D6EA-193B-C3F7498BE9C2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" creationId="{4ACE34D9-D35E-979A-1C72-A6A21CEA8698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" creationId="{0E6F2D56-111F-65E6-82B1-2E2678F6DDAC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5" creationId="{59F264D0-FDF2-C8DB-FD22-B950BF523459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6" creationId="{DEC4C0DF-51C5-65BF-731C-4308B5513763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7" creationId="{EE45C241-4A30-498B-CF4F-24D5C2B22C26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8" creationId="{BCF499F4-E59E-5DF3-2CE0-17CC7060AFFB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9" creationId="{3D99D488-769F-3BD2-B28D-C3E00C03146C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30" creationId="{0C78DE00-C6F3-EDBD-3C1F-CA16B4E8B48C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31" creationId="{2CD1E17B-631B-AAB9-8988-75ADE3230FB5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26" creationId="{0DD83A84-3ECD-9F3F-B9F6-AA29E307EA05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27" creationId="{6284F2ED-B6E8-C79E-AC60-2E3EB9CCE5D4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28" creationId="{753DD32E-5E9A-D623-5927-BC50F7628ED7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29" creationId="{3A745AC3-C311-D395-454F-263F1F8E17F2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0" creationId="{6278AF0B-A4BD-2448-CDD3-ED71AEE8ECF1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1" creationId="{9C871839-9BE4-32B4-660B-5AC6079BB59E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2" creationId="{ABC0DDC4-836A-6DFB-9690-140E1EBA3E1B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3" creationId="{50762C27-8D00-38C3-8C53-1BD50ABC646A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4" creationId="{FD9D41F7-171C-5A7D-B8C2-D3FCEFBE7347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5" creationId="{8F10A954-BEE2-4C38-40C8-B6B17B76B4D6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6" creationId="{E796351F-1761-A8AD-50D6-D10F9340CBFB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7" creationId="{9161EEF2-9171-8378-638E-A4B9263A3D23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8" creationId="{9626BF00-5F6B-3977-6536-B1B55465B955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39" creationId="{F8BDFB9B-6915-DC21-3654-A11DF8110829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0" creationId="{73E4CCC7-A2A8-0A69-9BFB-C188855F083A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1" creationId="{AF35B603-2BEF-C6D0-6C14-67689541D152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2" creationId="{C79EAE51-F8F7-C275-D4E5-4D29BEE70DC4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3" creationId="{0DC9C632-081B-C0FD-FDA5-9823FF538E99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4" creationId="{22571628-1A53-C930-9A91-AD73CCEC73EC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5" creationId="{0B592362-706C-18F2-49F4-28816D06AC5A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6" creationId="{A1BDC425-A835-5EAD-820B-7A4CCC489E07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7" creationId="{3A07C611-AA83-AD3D-F964-1D77C56C6460}"/>
          </ac:spMkLst>
        </pc:spChg>
        <pc:spChg chg="mod">
          <ac:chgData name="Christiaan van Luik" userId="1bd86f1c-6fe6-40c1-aac8-4a56c1d30c55" providerId="ADAL" clId="{DB0D515A-00FC-4A3E-B195-BCB3EDC04171}" dt="2023-06-16T14:32:06.963" v="300"/>
          <ac:spMkLst>
            <pc:docMk/>
            <pc:sldMk cId="3431245442" sldId="2024"/>
            <ac:spMk id="248" creationId="{776934CB-D272-FE35-D8E6-2BADA12EFFA8}"/>
          </ac:spMkLst>
        </pc:spChg>
        <pc:grpChg chg="add mod">
          <ac:chgData name="Christiaan van Luik" userId="1bd86f1c-6fe6-40c1-aac8-4a56c1d30c55" providerId="ADAL" clId="{DB0D515A-00FC-4A3E-B195-BCB3EDC04171}" dt="2023-06-16T14:32:09.269" v="301" actId="1076"/>
          <ac:grpSpMkLst>
            <pc:docMk/>
            <pc:sldMk cId="3431245442" sldId="2024"/>
            <ac:grpSpMk id="3" creationId="{877A0C5C-E55C-52A6-815D-57D567932113}"/>
          </ac:grpSpMkLst>
        </pc:grpChg>
        <pc:grpChg chg="del">
          <ac:chgData name="Christiaan van Luik" userId="1bd86f1c-6fe6-40c1-aac8-4a56c1d30c55" providerId="ADAL" clId="{DB0D515A-00FC-4A3E-B195-BCB3EDC04171}" dt="2023-06-16T14:32:06.093" v="299" actId="478"/>
          <ac:grpSpMkLst>
            <pc:docMk/>
            <pc:sldMk cId="3431245442" sldId="2024"/>
            <ac:grpSpMk id="32" creationId="{100B0F80-8E4F-D1E7-EF1A-121AE69E069F}"/>
          </ac:grpSpMkLst>
        </pc:grpChg>
      </pc:sldChg>
      <pc:sldChg chg="addSp modSp add mod">
        <pc:chgData name="Christiaan van Luik" userId="1bd86f1c-6fe6-40c1-aac8-4a56c1d30c55" providerId="ADAL" clId="{DB0D515A-00FC-4A3E-B195-BCB3EDC04171}" dt="2023-06-20T11:49:26.729" v="1493" actId="20577"/>
        <pc:sldMkLst>
          <pc:docMk/>
          <pc:sldMk cId="2724980333" sldId="2025"/>
        </pc:sldMkLst>
        <pc:spChg chg="mod">
          <ac:chgData name="Christiaan van Luik" userId="1bd86f1c-6fe6-40c1-aac8-4a56c1d30c55" providerId="ADAL" clId="{DB0D515A-00FC-4A3E-B195-BCB3EDC04171}" dt="2023-06-20T11:43:35.279" v="1131" actId="20577"/>
          <ac:spMkLst>
            <pc:docMk/>
            <pc:sldMk cId="2724980333" sldId="2025"/>
            <ac:spMk id="2" creationId="{C45CD1B2-F340-A957-6AC5-8B568934B304}"/>
          </ac:spMkLst>
        </pc:spChg>
        <pc:spChg chg="mod">
          <ac:chgData name="Christiaan van Luik" userId="1bd86f1c-6fe6-40c1-aac8-4a56c1d30c55" providerId="ADAL" clId="{DB0D515A-00FC-4A3E-B195-BCB3EDC04171}" dt="2023-06-20T11:49:26.729" v="1493" actId="20577"/>
          <ac:spMkLst>
            <pc:docMk/>
            <pc:sldMk cId="2724980333" sldId="2025"/>
            <ac:spMk id="3" creationId="{41B1EDF6-60D9-0B6C-11B0-15473A7DD113}"/>
          </ac:spMkLst>
        </pc:spChg>
        <pc:picChg chg="add mod">
          <ac:chgData name="Christiaan van Luik" userId="1bd86f1c-6fe6-40c1-aac8-4a56c1d30c55" providerId="ADAL" clId="{DB0D515A-00FC-4A3E-B195-BCB3EDC04171}" dt="2023-06-20T11:49:21.893" v="1487" actId="14100"/>
          <ac:picMkLst>
            <pc:docMk/>
            <pc:sldMk cId="2724980333" sldId="2025"/>
            <ac:picMk id="3074" creationId="{ADB29665-56A0-8100-8A84-FE5EA56EB6E3}"/>
          </ac:picMkLst>
        </pc:picChg>
      </pc:sldChg>
      <pc:sldChg chg="addSp delSp modSp new mod">
        <pc:chgData name="Christiaan van Luik" userId="1bd86f1c-6fe6-40c1-aac8-4a56c1d30c55" providerId="ADAL" clId="{DB0D515A-00FC-4A3E-B195-BCB3EDC04171}" dt="2023-06-22T07:46:10.239" v="2683" actId="1076"/>
        <pc:sldMkLst>
          <pc:docMk/>
          <pc:sldMk cId="2680263280" sldId="2026"/>
        </pc:sldMkLst>
        <pc:spChg chg="mod">
          <ac:chgData name="Christiaan van Luik" userId="1bd86f1c-6fe6-40c1-aac8-4a56c1d30c55" providerId="ADAL" clId="{DB0D515A-00FC-4A3E-B195-BCB3EDC04171}" dt="2023-06-20T11:49:58.488" v="1519" actId="20577"/>
          <ac:spMkLst>
            <pc:docMk/>
            <pc:sldMk cId="2680263280" sldId="2026"/>
            <ac:spMk id="2" creationId="{DD24C3D1-2613-FD06-6F71-77E91A9100AA}"/>
          </ac:spMkLst>
        </pc:spChg>
        <pc:spChg chg="add mod">
          <ac:chgData name="Christiaan van Luik" userId="1bd86f1c-6fe6-40c1-aac8-4a56c1d30c55" providerId="ADAL" clId="{DB0D515A-00FC-4A3E-B195-BCB3EDC04171}" dt="2023-06-22T07:46:01.592" v="2680" actId="14100"/>
          <ac:spMkLst>
            <pc:docMk/>
            <pc:sldMk cId="2680263280" sldId="2026"/>
            <ac:spMk id="3" creationId="{973BFDE4-BC8B-80E7-9DE8-211FA71709DD}"/>
          </ac:spMkLst>
        </pc:spChg>
        <pc:picChg chg="add mod">
          <ac:chgData name="Christiaan van Luik" userId="1bd86f1c-6fe6-40c1-aac8-4a56c1d30c55" providerId="ADAL" clId="{DB0D515A-00FC-4A3E-B195-BCB3EDC04171}" dt="2023-06-22T07:46:04.801" v="2682" actId="1076"/>
          <ac:picMkLst>
            <pc:docMk/>
            <pc:sldMk cId="2680263280" sldId="2026"/>
            <ac:picMk id="4" creationId="{7572734D-C8C5-282B-D191-0CD57A6A7DE6}"/>
          </ac:picMkLst>
        </pc:picChg>
        <pc:picChg chg="add mod">
          <ac:chgData name="Christiaan van Luik" userId="1bd86f1c-6fe6-40c1-aac8-4a56c1d30c55" providerId="ADAL" clId="{DB0D515A-00FC-4A3E-B195-BCB3EDC04171}" dt="2023-06-22T07:46:10.239" v="2683" actId="1076"/>
          <ac:picMkLst>
            <pc:docMk/>
            <pc:sldMk cId="2680263280" sldId="2026"/>
            <ac:picMk id="5" creationId="{BBDD527C-28E3-A924-9124-07C410A80684}"/>
          </ac:picMkLst>
        </pc:picChg>
        <pc:picChg chg="add del mod">
          <ac:chgData name="Christiaan van Luik" userId="1bd86f1c-6fe6-40c1-aac8-4a56c1d30c55" providerId="ADAL" clId="{DB0D515A-00FC-4A3E-B195-BCB3EDC04171}" dt="2023-06-22T07:45:06.004" v="2669" actId="478"/>
          <ac:picMkLst>
            <pc:docMk/>
            <pc:sldMk cId="2680263280" sldId="2026"/>
            <ac:picMk id="4098" creationId="{F39B56D1-DB34-E159-CCF2-75145DDAFD88}"/>
          </ac:picMkLst>
        </pc:picChg>
      </pc:sldChg>
      <pc:sldChg chg="modSp new del mod">
        <pc:chgData name="Christiaan van Luik" userId="1bd86f1c-6fe6-40c1-aac8-4a56c1d30c55" providerId="ADAL" clId="{DB0D515A-00FC-4A3E-B195-BCB3EDC04171}" dt="2023-06-20T11:50:57.729" v="1537" actId="47"/>
        <pc:sldMkLst>
          <pc:docMk/>
          <pc:sldMk cId="262061797" sldId="2027"/>
        </pc:sldMkLst>
        <pc:spChg chg="mod">
          <ac:chgData name="Christiaan van Luik" userId="1bd86f1c-6fe6-40c1-aac8-4a56c1d30c55" providerId="ADAL" clId="{DB0D515A-00FC-4A3E-B195-BCB3EDC04171}" dt="2023-06-20T11:50:48.546" v="1532" actId="15"/>
          <ac:spMkLst>
            <pc:docMk/>
            <pc:sldMk cId="262061797" sldId="2027"/>
            <ac:spMk id="3" creationId="{260E7B14-C4E3-90D9-C2ED-555E09A52427}"/>
          </ac:spMkLst>
        </pc:spChg>
      </pc:sldChg>
      <pc:sldChg chg="addSp delSp modSp add mod">
        <pc:chgData name="Christiaan van Luik" userId="1bd86f1c-6fe6-40c1-aac8-4a56c1d30c55" providerId="ADAL" clId="{DB0D515A-00FC-4A3E-B195-BCB3EDC04171}" dt="2023-06-22T07:25:31.887" v="2195" actId="14100"/>
        <pc:sldMkLst>
          <pc:docMk/>
          <pc:sldMk cId="3225749066" sldId="2027"/>
        </pc:sldMkLst>
        <pc:spChg chg="mod">
          <ac:chgData name="Christiaan van Luik" userId="1bd86f1c-6fe6-40c1-aac8-4a56c1d30c55" providerId="ADAL" clId="{DB0D515A-00FC-4A3E-B195-BCB3EDC04171}" dt="2023-06-20T11:51:07.578" v="1542" actId="20577"/>
          <ac:spMkLst>
            <pc:docMk/>
            <pc:sldMk cId="3225749066" sldId="2027"/>
            <ac:spMk id="2" creationId="{DD24C3D1-2613-FD06-6F71-77E91A9100AA}"/>
          </ac:spMkLst>
        </pc:spChg>
        <pc:spChg chg="mod">
          <ac:chgData name="Christiaan van Luik" userId="1bd86f1c-6fe6-40c1-aac8-4a56c1d30c55" providerId="ADAL" clId="{DB0D515A-00FC-4A3E-B195-BCB3EDC04171}" dt="2023-06-22T07:25:31.887" v="2195" actId="14100"/>
          <ac:spMkLst>
            <pc:docMk/>
            <pc:sldMk cId="3225749066" sldId="2027"/>
            <ac:spMk id="3" creationId="{973BFDE4-BC8B-80E7-9DE8-211FA71709DD}"/>
          </ac:spMkLst>
        </pc:spChg>
        <pc:picChg chg="add mod">
          <ac:chgData name="Christiaan van Luik" userId="1bd86f1c-6fe6-40c1-aac8-4a56c1d30c55" providerId="ADAL" clId="{DB0D515A-00FC-4A3E-B195-BCB3EDC04171}" dt="2023-06-22T07:25:09.221" v="2155" actId="1076"/>
          <ac:picMkLst>
            <pc:docMk/>
            <pc:sldMk cId="3225749066" sldId="2027"/>
            <ac:picMk id="2050" creationId="{85748A75-AD58-2AA3-A9FF-FACE7590D427}"/>
          </ac:picMkLst>
        </pc:picChg>
        <pc:picChg chg="add mod">
          <ac:chgData name="Christiaan van Luik" userId="1bd86f1c-6fe6-40c1-aac8-4a56c1d30c55" providerId="ADAL" clId="{DB0D515A-00FC-4A3E-B195-BCB3EDC04171}" dt="2023-06-22T07:25:07.616" v="2154" actId="14100"/>
          <ac:picMkLst>
            <pc:docMk/>
            <pc:sldMk cId="3225749066" sldId="2027"/>
            <ac:picMk id="2052" creationId="{D5A9E236-90A9-C7F7-2B85-6EB606A08632}"/>
          </ac:picMkLst>
        </pc:picChg>
        <pc:picChg chg="del">
          <ac:chgData name="Christiaan van Luik" userId="1bd86f1c-6fe6-40c1-aac8-4a56c1d30c55" providerId="ADAL" clId="{DB0D515A-00FC-4A3E-B195-BCB3EDC04171}" dt="2023-06-22T07:24:49.304" v="2149" actId="478"/>
          <ac:picMkLst>
            <pc:docMk/>
            <pc:sldMk cId="3225749066" sldId="2027"/>
            <ac:picMk id="4098" creationId="{F39B56D1-DB34-E159-CCF2-75145DDAFD88}"/>
          </ac:picMkLst>
        </pc:picChg>
      </pc:sldChg>
      <pc:sldChg chg="addSp delSp modSp add mod">
        <pc:chgData name="Christiaan van Luik" userId="1bd86f1c-6fe6-40c1-aac8-4a56c1d30c55" providerId="ADAL" clId="{DB0D515A-00FC-4A3E-B195-BCB3EDC04171}" dt="2023-06-22T07:19:26.013" v="1846" actId="20577"/>
        <pc:sldMkLst>
          <pc:docMk/>
          <pc:sldMk cId="1861586756" sldId="2028"/>
        </pc:sldMkLst>
        <pc:spChg chg="mod">
          <ac:chgData name="Christiaan van Luik" userId="1bd86f1c-6fe6-40c1-aac8-4a56c1d30c55" providerId="ADAL" clId="{DB0D515A-00FC-4A3E-B195-BCB3EDC04171}" dt="2023-06-20T11:51:11.842" v="1553" actId="20577"/>
          <ac:spMkLst>
            <pc:docMk/>
            <pc:sldMk cId="1861586756" sldId="2028"/>
            <ac:spMk id="2" creationId="{DD24C3D1-2613-FD06-6F71-77E91A9100AA}"/>
          </ac:spMkLst>
        </pc:spChg>
        <pc:spChg chg="mod">
          <ac:chgData name="Christiaan van Luik" userId="1bd86f1c-6fe6-40c1-aac8-4a56c1d30c55" providerId="ADAL" clId="{DB0D515A-00FC-4A3E-B195-BCB3EDC04171}" dt="2023-06-22T07:19:26.013" v="1846" actId="20577"/>
          <ac:spMkLst>
            <pc:docMk/>
            <pc:sldMk cId="1861586756" sldId="2028"/>
            <ac:spMk id="3" creationId="{973BFDE4-BC8B-80E7-9DE8-211FA71709DD}"/>
          </ac:spMkLst>
        </pc:spChg>
        <pc:spChg chg="add del">
          <ac:chgData name="Christiaan van Luik" userId="1bd86f1c-6fe6-40c1-aac8-4a56c1d30c55" providerId="ADAL" clId="{DB0D515A-00FC-4A3E-B195-BCB3EDC04171}" dt="2023-06-22T07:13:05.432" v="1721" actId="478"/>
          <ac:spMkLst>
            <pc:docMk/>
            <pc:sldMk cId="1861586756" sldId="2028"/>
            <ac:spMk id="5" creationId="{F1BEA118-D4B9-BFA4-FF1D-C8B14571BEF4}"/>
          </ac:spMkLst>
        </pc:spChg>
        <pc:picChg chg="add mod">
          <ac:chgData name="Christiaan van Luik" userId="1bd86f1c-6fe6-40c1-aac8-4a56c1d30c55" providerId="ADAL" clId="{DB0D515A-00FC-4A3E-B195-BCB3EDC04171}" dt="2023-06-22T07:17:52.305" v="1735" actId="1076"/>
          <ac:picMkLst>
            <pc:docMk/>
            <pc:sldMk cId="1861586756" sldId="2028"/>
            <ac:picMk id="4" creationId="{9C0A79D4-9F27-ABF9-D3FE-65E8FF765938}"/>
          </ac:picMkLst>
        </pc:picChg>
        <pc:picChg chg="add del mod">
          <ac:chgData name="Christiaan van Luik" userId="1bd86f1c-6fe6-40c1-aac8-4a56c1d30c55" providerId="ADAL" clId="{DB0D515A-00FC-4A3E-B195-BCB3EDC04171}" dt="2023-06-22T07:17:34.790" v="1729" actId="478"/>
          <ac:picMkLst>
            <pc:docMk/>
            <pc:sldMk cId="1861586756" sldId="2028"/>
            <ac:picMk id="6" creationId="{6940D03A-35DE-121C-C970-E58CDDCEA86A}"/>
          </ac:picMkLst>
        </pc:picChg>
        <pc:picChg chg="add mod">
          <ac:chgData name="Christiaan van Luik" userId="1bd86f1c-6fe6-40c1-aac8-4a56c1d30c55" providerId="ADAL" clId="{DB0D515A-00FC-4A3E-B195-BCB3EDC04171}" dt="2023-06-22T07:17:53.962" v="1736" actId="1076"/>
          <ac:picMkLst>
            <pc:docMk/>
            <pc:sldMk cId="1861586756" sldId="2028"/>
            <ac:picMk id="1028" creationId="{A9EC97BF-1C2C-E5B5-83EA-03990674AAB2}"/>
          </ac:picMkLst>
        </pc:picChg>
        <pc:picChg chg="del">
          <ac:chgData name="Christiaan van Luik" userId="1bd86f1c-6fe6-40c1-aac8-4a56c1d30c55" providerId="ADAL" clId="{DB0D515A-00FC-4A3E-B195-BCB3EDC04171}" dt="2023-06-22T07:07:13.268" v="1555" actId="478"/>
          <ac:picMkLst>
            <pc:docMk/>
            <pc:sldMk cId="1861586756" sldId="2028"/>
            <ac:picMk id="4098" creationId="{F39B56D1-DB34-E159-CCF2-75145DDAFD88}"/>
          </ac:picMkLst>
        </pc:picChg>
      </pc:sldChg>
      <pc:sldChg chg="del">
        <pc:chgData name="Christiaan van Luik" userId="1bd86f1c-6fe6-40c1-aac8-4a56c1d30c55" providerId="ADAL" clId="{DB0D515A-00FC-4A3E-B195-BCB3EDC04171}" dt="2023-06-22T07:21:12.272" v="1847" actId="47"/>
        <pc:sldMkLst>
          <pc:docMk/>
          <pc:sldMk cId="4109917158" sldId="20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8" y="0"/>
            <a:ext cx="2887663" cy="49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defTabSz="895350">
              <a:defRPr sz="1000" i="1"/>
            </a:lvl1pPr>
          </a:lstStyle>
          <a:p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5075" y="0"/>
            <a:ext cx="2887663" cy="49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r" defTabSz="895350">
              <a:defRPr sz="1000" i="1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55613" y="9101138"/>
            <a:ext cx="2887662" cy="490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defTabSz="895350">
              <a:defRPr sz="1000" i="1"/>
            </a:lvl1pPr>
          </a:lstStyle>
          <a:p>
            <a:r>
              <a:rPr lang="en-GB"/>
              <a:t>Buck Consultants International</a:t>
            </a: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5702300" y="9404350"/>
            <a:ext cx="3365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6038" rIns="90488" bIns="46038" anchor="ctr">
            <a:spAutoFit/>
          </a:bodyPr>
          <a:lstStyle/>
          <a:p>
            <a:pPr algn="r" defTabSz="895350"/>
            <a:fld id="{C3F35F04-5E6D-43DC-8BBD-C8455326380C}" type="slidenum">
              <a:rPr lang="en-GB" sz="1000"/>
              <a:pPr algn="r" defTabSz="895350"/>
              <a:t>‹#›</a:t>
            </a:fld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9316447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588" y="0"/>
            <a:ext cx="2887663" cy="49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defTabSz="746125">
              <a:defRPr sz="1000" i="1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5075" y="0"/>
            <a:ext cx="2887663" cy="49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r" defTabSz="746125">
              <a:defRPr sz="1000" i="1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-1588" y="9342438"/>
            <a:ext cx="2887663" cy="490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defTabSz="746125">
              <a:defRPr sz="1000" i="1">
                <a:latin typeface="Times New Roman" pitchFamily="18" charset="0"/>
              </a:defRPr>
            </a:lvl1pPr>
          </a:lstStyle>
          <a:p>
            <a:r>
              <a:rPr lang="en-GB"/>
              <a:t>Buck Consultants International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5075" y="9342438"/>
            <a:ext cx="2887663" cy="490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algn="r" defTabSz="746125">
              <a:defRPr sz="1000" i="1">
                <a:latin typeface="Times New Roman" pitchFamily="18" charset="0"/>
              </a:defRPr>
            </a:lvl1pPr>
          </a:lstStyle>
          <a:p>
            <a:fld id="{4CDC6FA5-7241-4B83-A605-283B92F016E3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5825" y="4673600"/>
            <a:ext cx="4886325" cy="413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6038" rIns="90488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Klik als u het opmaakprofiel van het notitiemodel wilt bewerken.</a:t>
            </a:r>
          </a:p>
          <a:p>
            <a:pPr lvl="1"/>
            <a:r>
              <a:rPr lang="en-US"/>
              <a:t>Tweede niveau</a:t>
            </a:r>
          </a:p>
          <a:p>
            <a:pPr lvl="2"/>
            <a:r>
              <a:rPr lang="en-US"/>
              <a:t>Derde niveau</a:t>
            </a:r>
          </a:p>
          <a:p>
            <a:pPr lvl="3"/>
            <a:r>
              <a:rPr lang="en-US"/>
              <a:t>Vierde niveau</a:t>
            </a:r>
          </a:p>
          <a:p>
            <a:pPr lvl="4"/>
            <a:r>
              <a:rPr lang="en-US"/>
              <a:t>Vijfde niveau</a:t>
            </a:r>
          </a:p>
        </p:txBody>
      </p:sp>
      <p:sp>
        <p:nvSpPr>
          <p:cNvPr id="2055" name="Rectangle 7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675" y="744538"/>
            <a:ext cx="6527800" cy="36734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6184900" y="9426575"/>
            <a:ext cx="406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6038" rIns="90488" bIns="46038" anchor="ctr">
            <a:spAutoFit/>
          </a:bodyPr>
          <a:lstStyle/>
          <a:p>
            <a:pPr algn="r" defTabSz="895350"/>
            <a:fld id="{A2DC4E19-F529-4D34-9497-ECE38F0C39D0}" type="slidenum">
              <a:rPr lang="en-GB" sz="1400">
                <a:latin typeface="Book Antiqua" pitchFamily="18" charset="0"/>
              </a:rPr>
              <a:pPr algn="r" defTabSz="895350"/>
              <a:t>‹#›</a:t>
            </a:fld>
            <a:endParaRPr lang="en-GB" sz="1400">
              <a:latin typeface="Book Antiqu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863132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1pPr>
    <a:lvl2pPr marL="452438"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2pPr>
    <a:lvl3pPr marL="904875"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3pPr>
    <a:lvl4pPr marL="1357313"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4pPr>
    <a:lvl5pPr marL="1809750"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Buck Consultants Internatio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DC6FA5-7241-4B83-A605-283B92F016E3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6008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Buck Consultants Internatio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DC6FA5-7241-4B83-A605-283B92F016E3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5325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Buck Consultants Internatio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DC6FA5-7241-4B83-A605-283B92F016E3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2863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6F0EB2-00C9-19CD-3CBA-A4914D8BA8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418" y="1122623"/>
            <a:ext cx="9146381" cy="2388153"/>
          </a:xfrm>
        </p:spPr>
        <p:txBody>
          <a:bodyPr anchor="b"/>
          <a:lstStyle>
            <a:lvl1pPr algn="l">
              <a:defRPr sz="6001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0D1E71BE-0434-5BA3-1AAF-CF8C6AA7EC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418" y="3602872"/>
            <a:ext cx="9146381" cy="1656145"/>
          </a:xfrm>
        </p:spPr>
        <p:txBody>
          <a:bodyPr/>
          <a:lstStyle>
            <a:lvl1pPr marL="0" indent="0" algn="l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11" name="Tijdelijke aanduiding voor datum 3">
            <a:extLst>
              <a:ext uri="{FF2B5EF4-FFF2-40B4-BE49-F238E27FC236}">
                <a16:creationId xmlns:a16="http://schemas.microsoft.com/office/drawing/2014/main" id="{CBC17950-60E8-E23D-66B6-A7BA2D2926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418" y="6357822"/>
            <a:ext cx="2743914" cy="365210"/>
          </a:xfrm>
        </p:spPr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DBFD89A3-7684-8343-B8FE-9182C3961444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22-6-2023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jdelijke aanduiding voor voettekst 4">
            <a:extLst>
              <a:ext uri="{FF2B5EF4-FFF2-40B4-BE49-F238E27FC236}">
                <a16:creationId xmlns:a16="http://schemas.microsoft.com/office/drawing/2014/main" id="{A858A74B-510D-90EC-DC45-23208E255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9652" y="6357822"/>
            <a:ext cx="4115872" cy="365210"/>
          </a:xfrm>
        </p:spPr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jdelijke aanduiding voor dianummer 5">
            <a:extLst>
              <a:ext uri="{FF2B5EF4-FFF2-40B4-BE49-F238E27FC236}">
                <a16:creationId xmlns:a16="http://schemas.microsoft.com/office/drawing/2014/main" id="{7243ACA9-0AF7-A88C-C14F-12828BB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2843" y="6357822"/>
            <a:ext cx="2743914" cy="365210"/>
          </a:xfrm>
        </p:spPr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DDE26DD4-92A3-8243-8585-53033386AA4D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47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95807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8941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759" y="273050"/>
            <a:ext cx="401212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767974" y="273050"/>
            <a:ext cx="6817442" cy="58547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609759" y="1435100"/>
            <a:ext cx="4012129" cy="46926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6190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0340" y="4802189"/>
            <a:ext cx="7317105" cy="5667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2390340" y="612775"/>
            <a:ext cx="7317105" cy="41163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2390340" y="5368926"/>
            <a:ext cx="7317105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8164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392782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9159085" y="233363"/>
            <a:ext cx="3053028" cy="6292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-4234" y="233363"/>
            <a:ext cx="8960066" cy="6292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7413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p me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8EED9DF2-86C6-F5F1-325E-27DA64A7BB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D89A3-7684-8343-B8FE-9182C3961444}" type="datetimeFigureOut">
              <a:rPr lang="nl-NL" smtClean="0"/>
              <a:t>22-6-2023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4CAEC06E-4FD7-EE73-94C1-CA519FFB08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88922E8-C431-CECA-FE7B-663978267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26DD4-92A3-8243-8585-53033386AA4D}" type="slidenum">
              <a:rPr lang="nl-NL" smtClean="0"/>
              <a:t>‹#›</a:t>
            </a:fld>
            <a:endParaRPr lang="nl-NL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3E455525-7708-5FEC-879B-1277BD7C0B63}"/>
              </a:ext>
            </a:extLst>
          </p:cNvPr>
          <p:cNvSpPr/>
          <p:nvPr userDrawn="1"/>
        </p:nvSpPr>
        <p:spPr>
          <a:xfrm>
            <a:off x="360094" y="0"/>
            <a:ext cx="11835081" cy="1080250"/>
          </a:xfrm>
          <a:prstGeom prst="rect">
            <a:avLst/>
          </a:prstGeom>
          <a:solidFill>
            <a:srgbClr val="013A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801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D6010340-9AEE-A634-832D-9E126E674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216" y="252058"/>
            <a:ext cx="8772484" cy="720167"/>
          </a:xfrm>
        </p:spPr>
        <p:txBody>
          <a:bodyPr wrap="none" lIns="0" anchor="t" anchorCtr="0">
            <a:normAutofit/>
          </a:bodyPr>
          <a:lstStyle>
            <a:lvl1pPr>
              <a:defRPr sz="4001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BE1009DE-3211-8321-57F0-587C0656E8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038" y="5830297"/>
            <a:ext cx="634165" cy="81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784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DB3512ED-67CF-21C9-9407-2F25A6211D75}"/>
              </a:ext>
            </a:extLst>
          </p:cNvPr>
          <p:cNvSpPr/>
          <p:nvPr userDrawn="1"/>
        </p:nvSpPr>
        <p:spPr>
          <a:xfrm>
            <a:off x="360094" y="1080250"/>
            <a:ext cx="11854427" cy="5779338"/>
          </a:xfrm>
          <a:prstGeom prst="rect">
            <a:avLst/>
          </a:prstGeom>
          <a:solidFill>
            <a:srgbClr val="007AC2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2FDD6899-3F19-1130-BD06-42CFBAB172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038" y="5830297"/>
            <a:ext cx="634165" cy="81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4296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op zonder balk me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5B01A5-3A84-4972-5B98-56FE09E9B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216" y="252058"/>
            <a:ext cx="10518338" cy="720167"/>
          </a:xfrm>
        </p:spPr>
        <p:txBody>
          <a:bodyPr wrap="none" lIns="0" anchor="t" anchorCtr="0">
            <a:noAutofit/>
          </a:bodyPr>
          <a:lstStyle>
            <a:lvl1pPr>
              <a:defRPr sz="4001" baseline="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1662865-EB79-DAE7-8D6F-5FBE03137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DBFD89A3-7684-8343-B8FE-9182C3961444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22-6-2023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8DBFDE7D-8A0F-D337-A2AA-38F3333A3A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F387AFE-EAC4-12C0-CC20-7D7EDD9645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DDE26DD4-92A3-8243-8585-53033386AA4D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FCEE37FD-21EC-344A-D658-E98528111495}"/>
              </a:ext>
            </a:extLst>
          </p:cNvPr>
          <p:cNvSpPr/>
          <p:nvPr userDrawn="1"/>
        </p:nvSpPr>
        <p:spPr>
          <a:xfrm>
            <a:off x="360094" y="1080250"/>
            <a:ext cx="11854427" cy="5779338"/>
          </a:xfrm>
          <a:prstGeom prst="rect">
            <a:avLst/>
          </a:prstGeom>
          <a:solidFill>
            <a:srgbClr val="007AC2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06838B32-C775-7B3E-5CF3-44A4E4F53F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038" y="5830297"/>
            <a:ext cx="634165" cy="81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122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p me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8EED9DF2-86C6-F5F1-325E-27DA64A7BB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DBFD89A3-7684-8343-B8FE-9182C3961444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22-6-2023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4CAEC06E-4FD7-EE73-94C1-CA519FFB08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88922E8-C431-CECA-FE7B-663978267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DDE26DD4-92A3-8243-8585-53033386AA4D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3E455525-7708-5FEC-879B-1277BD7C0B63}"/>
              </a:ext>
            </a:extLst>
          </p:cNvPr>
          <p:cNvSpPr/>
          <p:nvPr userDrawn="1"/>
        </p:nvSpPr>
        <p:spPr>
          <a:xfrm>
            <a:off x="360094" y="0"/>
            <a:ext cx="11835081" cy="1080250"/>
          </a:xfrm>
          <a:prstGeom prst="rect">
            <a:avLst/>
          </a:prstGeom>
          <a:solidFill>
            <a:srgbClr val="013A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D6010340-9AEE-A634-832D-9E126E674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216" y="252058"/>
            <a:ext cx="8772484" cy="720167"/>
          </a:xfrm>
        </p:spPr>
        <p:txBody>
          <a:bodyPr wrap="none" lIns="0" anchor="t" anchorCtr="0">
            <a:normAutofit/>
          </a:bodyPr>
          <a:lstStyle>
            <a:lvl1pPr>
              <a:defRPr sz="4001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BE1009DE-3211-8321-57F0-587C0656E8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44038" y="5830297"/>
            <a:ext cx="634165" cy="81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542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914638" y="2286000"/>
            <a:ext cx="10365899" cy="11445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401638" indent="0" algn="ctr">
              <a:defRPr sz="4000"/>
            </a:lvl1pPr>
          </a:lstStyle>
          <a:p>
            <a:pPr lvl="0"/>
            <a:r>
              <a:rPr lang="en-US" noProof="0"/>
              <a:t>Click to edit Master title style</a:t>
            </a:r>
            <a:endParaRPr lang="nl-NL" noProof="0"/>
          </a:p>
        </p:txBody>
      </p:sp>
      <p:sp>
        <p:nvSpPr>
          <p:cNvPr id="3079" name="Rectangle 7"/>
          <p:cNvSpPr>
            <a:spLocks noChangeArrowheads="1"/>
          </p:cNvSpPr>
          <p:nvPr/>
        </p:nvSpPr>
        <p:spPr bwMode="auto">
          <a:xfrm>
            <a:off x="0" y="234950"/>
            <a:ext cx="12195175" cy="990600"/>
          </a:xfrm>
          <a:prstGeom prst="rect">
            <a:avLst/>
          </a:prstGeom>
          <a:solidFill>
            <a:srgbClr val="A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sp>
        <p:nvSpPr>
          <p:cNvPr id="3080" name="Line 8"/>
          <p:cNvSpPr>
            <a:spLocks noChangeShapeType="1"/>
          </p:cNvSpPr>
          <p:nvPr/>
        </p:nvSpPr>
        <p:spPr bwMode="auto">
          <a:xfrm>
            <a:off x="0" y="4386263"/>
            <a:ext cx="12195175" cy="0"/>
          </a:xfrm>
          <a:prstGeom prst="line">
            <a:avLst/>
          </a:prstGeom>
          <a:noFill/>
          <a:ln w="12700">
            <a:solidFill>
              <a:srgbClr val="FF0E0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/>
          <a:p>
            <a:endParaRPr lang="nl-NL" sz="2800"/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0" y="0"/>
            <a:ext cx="12195175" cy="152400"/>
          </a:xfrm>
          <a:prstGeom prst="rect">
            <a:avLst/>
          </a:prstGeom>
          <a:solidFill>
            <a:srgbClr val="0A3A8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0" y="228600"/>
            <a:ext cx="12195175" cy="0"/>
          </a:xfrm>
          <a:prstGeom prst="line">
            <a:avLst/>
          </a:prstGeom>
          <a:noFill/>
          <a:ln w="12700">
            <a:solidFill>
              <a:srgbClr val="FF0E0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0" y="6790592"/>
            <a:ext cx="12195175" cy="76200"/>
          </a:xfrm>
          <a:prstGeom prst="rect">
            <a:avLst/>
          </a:prstGeom>
          <a:solidFill>
            <a:srgbClr val="0A3A8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sp>
        <p:nvSpPr>
          <p:cNvPr id="3085" name="Line 13"/>
          <p:cNvSpPr>
            <a:spLocks noChangeShapeType="1"/>
          </p:cNvSpPr>
          <p:nvPr/>
        </p:nvSpPr>
        <p:spPr bwMode="auto">
          <a:xfrm>
            <a:off x="0" y="6629400"/>
            <a:ext cx="12195175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pic>
        <p:nvPicPr>
          <p:cNvPr id="10" name="Picture 5" descr="logo">
            <a:extLst>
              <a:ext uri="{FF2B5EF4-FFF2-40B4-BE49-F238E27FC236}">
                <a16:creationId xmlns:a16="http://schemas.microsoft.com/office/drawing/2014/main" id="{1EA2275B-4163-49C4-9905-41C538FE4D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8803" y="442913"/>
            <a:ext cx="1655762" cy="538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1431925" indent="-350838">
              <a:buFont typeface="Wingdings" panose="05000000000000000000" pitchFamily="2" charset="2"/>
              <a:buChar char="Ø"/>
              <a:defRPr sz="1600" b="0"/>
            </a:lvl4pPr>
            <a:lvl5pPr marL="1792288" indent="-360363">
              <a:defRPr sz="1400" b="0"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168988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335" y="4408489"/>
            <a:ext cx="10365899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63335" y="2906714"/>
            <a:ext cx="10365899" cy="15017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0381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527188" y="1412875"/>
            <a:ext cx="5564049" cy="511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294490" y="1412875"/>
            <a:ext cx="5566165" cy="511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7334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759" y="274638"/>
            <a:ext cx="10975658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759" y="1535113"/>
            <a:ext cx="538832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09759" y="2174876"/>
            <a:ext cx="5388320" cy="39528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94980" y="1535113"/>
            <a:ext cx="539043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94980" y="2174876"/>
            <a:ext cx="5390437" cy="39528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9920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48578CD-F1B3-3657-3B3E-865ADC5859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47234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9" imgH="360" progId="TCLayout.ActiveDocument.1">
                  <p:embed/>
                </p:oleObj>
              </mc:Choice>
              <mc:Fallback>
                <p:oleObj name="think-cell Slide" r:id="rId7" imgW="359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48578CD-F1B3-3657-3B3E-865ADC5859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FA36CC26-56EF-E701-81B7-FDE114549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419" y="365210"/>
            <a:ext cx="10518338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AE2F787-D677-A514-6BAA-573E50C63C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419" y="1675293"/>
            <a:ext cx="10518338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A933DC9-6FD8-710E-C16D-55B013418B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418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DBFD89A3-7684-8343-B8FE-9182C3961444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22-6-2023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ED5FAF5-8E0B-2D16-355A-DD83A68B42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9652" y="6357822"/>
            <a:ext cx="4115872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aseline="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nl-NL">
                <a:solidFill>
                  <a:prstClr val="black">
                    <a:tint val="75000"/>
                  </a:prstClr>
                </a:solidFill>
              </a:rPr>
              <a:t>LOGISTIEK DIGITAA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091169E-E91D-4A22-C3FD-86962E9D19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2843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</a:defRPr>
            </a:lvl1pPr>
          </a:lstStyle>
          <a:p>
            <a:pPr defTabSz="914583" eaLnBrk="1" fontAlgn="auto" hangingPunct="1">
              <a:spcBef>
                <a:spcPts val="0"/>
              </a:spcBef>
              <a:spcAft>
                <a:spcPts val="0"/>
              </a:spcAft>
            </a:pPr>
            <a:fld id="{DDE26DD4-92A3-8243-8585-53033386AA4D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58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87503429-4288-B4D6-7834-462DF237C1F4}"/>
              </a:ext>
            </a:extLst>
          </p:cNvPr>
          <p:cNvSpPr/>
          <p:nvPr userDrawn="1"/>
        </p:nvSpPr>
        <p:spPr>
          <a:xfrm>
            <a:off x="0" y="1080252"/>
            <a:ext cx="360094" cy="5779337"/>
          </a:xfrm>
          <a:prstGeom prst="rect">
            <a:avLst/>
          </a:prstGeom>
          <a:solidFill>
            <a:srgbClr val="007A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195A635C-86E3-8C35-1D9C-30BD81E9D0D5}"/>
              </a:ext>
            </a:extLst>
          </p:cNvPr>
          <p:cNvSpPr/>
          <p:nvPr userDrawn="1"/>
        </p:nvSpPr>
        <p:spPr>
          <a:xfrm rot="10800000">
            <a:off x="0" y="0"/>
            <a:ext cx="360094" cy="1080250"/>
          </a:xfrm>
          <a:prstGeom prst="rect">
            <a:avLst/>
          </a:prstGeom>
          <a:solidFill>
            <a:srgbClr val="97C1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5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665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583" rtl="0" eaLnBrk="1" latinLnBrk="0" hangingPunct="1">
        <a:lnSpc>
          <a:spcPct val="90000"/>
        </a:lnSpc>
        <a:spcBef>
          <a:spcPct val="0"/>
        </a:spcBef>
        <a:buNone/>
        <a:defRPr sz="4401" kern="1200" baseline="0">
          <a:solidFill>
            <a:srgbClr val="013A57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46" indent="-228646" algn="l" defTabSz="914583" rtl="0" eaLnBrk="1" latinLnBrk="0" hangingPunct="1">
        <a:lnSpc>
          <a:spcPct val="90000"/>
        </a:lnSpc>
        <a:spcBef>
          <a:spcPts val="1000"/>
        </a:spcBef>
        <a:buClr>
          <a:srgbClr val="97C141"/>
        </a:buClr>
        <a:buFont typeface="Arial" panose="020B0604020202020204" pitchFamily="34" charset="0"/>
        <a:buChar char="•"/>
        <a:defRPr sz="2801" kern="1200" baseline="0">
          <a:solidFill>
            <a:srgbClr val="013A57"/>
          </a:solidFill>
          <a:latin typeface="Calibri" panose="020F0502020204030204" pitchFamily="34" charset="0"/>
          <a:ea typeface="+mn-ea"/>
          <a:cs typeface="+mn-cs"/>
        </a:defRPr>
      </a:lvl1pPr>
      <a:lvl2pPr marL="685937" indent="-228646" algn="l" defTabSz="914583" rtl="0" eaLnBrk="1" latinLnBrk="0" hangingPunct="1">
        <a:lnSpc>
          <a:spcPct val="90000"/>
        </a:lnSpc>
        <a:spcBef>
          <a:spcPts val="500"/>
        </a:spcBef>
        <a:buClr>
          <a:srgbClr val="97C141"/>
        </a:buClr>
        <a:buFont typeface="Arial" panose="020B0604020202020204" pitchFamily="34" charset="0"/>
        <a:buChar char="•"/>
        <a:defRPr sz="2400" kern="1200" baseline="0">
          <a:solidFill>
            <a:srgbClr val="013A57"/>
          </a:solidFill>
          <a:latin typeface="Calibri" panose="020F0502020204030204" pitchFamily="34" charset="0"/>
          <a:ea typeface="+mn-ea"/>
          <a:cs typeface="+mn-cs"/>
        </a:defRPr>
      </a:lvl2pPr>
      <a:lvl3pPr marL="1143229" indent="-228646" algn="l" defTabSz="914583" rtl="0" eaLnBrk="1" latinLnBrk="0" hangingPunct="1">
        <a:lnSpc>
          <a:spcPct val="90000"/>
        </a:lnSpc>
        <a:spcBef>
          <a:spcPts val="500"/>
        </a:spcBef>
        <a:buClr>
          <a:srgbClr val="97C141"/>
        </a:buClr>
        <a:buFont typeface="Arial" panose="020B0604020202020204" pitchFamily="34" charset="0"/>
        <a:buChar char="•"/>
        <a:defRPr sz="2000" kern="1200" baseline="0">
          <a:solidFill>
            <a:srgbClr val="013A57"/>
          </a:solidFill>
          <a:latin typeface="Calibri" panose="020F0502020204030204" pitchFamily="34" charset="0"/>
          <a:ea typeface="+mn-ea"/>
          <a:cs typeface="+mn-cs"/>
        </a:defRPr>
      </a:lvl3pPr>
      <a:lvl4pPr marL="1600520" indent="-228646" algn="l" defTabSz="914583" rtl="0" eaLnBrk="1" latinLnBrk="0" hangingPunct="1">
        <a:lnSpc>
          <a:spcPct val="90000"/>
        </a:lnSpc>
        <a:spcBef>
          <a:spcPts val="500"/>
        </a:spcBef>
        <a:buClr>
          <a:srgbClr val="97C141"/>
        </a:buClr>
        <a:buFont typeface="Arial" panose="020B0604020202020204" pitchFamily="34" charset="0"/>
        <a:buChar char="•"/>
        <a:defRPr sz="1800" kern="1200" baseline="0">
          <a:solidFill>
            <a:srgbClr val="013A57"/>
          </a:solidFill>
          <a:latin typeface="Calibri" panose="020F0502020204030204" pitchFamily="34" charset="0"/>
          <a:ea typeface="+mn-ea"/>
          <a:cs typeface="+mn-cs"/>
        </a:defRPr>
      </a:lvl4pPr>
      <a:lvl5pPr marL="2057811" indent="-228646" algn="l" defTabSz="914583" rtl="0" eaLnBrk="1" latinLnBrk="0" hangingPunct="1">
        <a:lnSpc>
          <a:spcPct val="90000"/>
        </a:lnSpc>
        <a:spcBef>
          <a:spcPts val="500"/>
        </a:spcBef>
        <a:buClr>
          <a:srgbClr val="97C141"/>
        </a:buClr>
        <a:buFont typeface="Arial" panose="020B0604020202020204" pitchFamily="34" charset="0"/>
        <a:buChar char="•"/>
        <a:defRPr sz="1800" kern="1200" baseline="0">
          <a:solidFill>
            <a:srgbClr val="013A57"/>
          </a:solidFill>
          <a:latin typeface="Calibri" panose="020F0502020204030204" pitchFamily="34" charset="0"/>
          <a:ea typeface="+mn-ea"/>
          <a:cs typeface="+mn-cs"/>
        </a:defRPr>
      </a:lvl5pPr>
      <a:lvl6pPr marL="2515103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6A141E-230B-40E7-9C9C-741E98DFFD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9317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9" imgH="360" progId="TCLayout.ActiveDocument.1">
                  <p:embed/>
                </p:oleObj>
              </mc:Choice>
              <mc:Fallback>
                <p:oleObj name="think-cell Slide" r:id="rId1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6A141E-230B-40E7-9C9C-741E98DFFD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-4234" y="233363"/>
            <a:ext cx="12216347" cy="989012"/>
          </a:xfrm>
          <a:prstGeom prst="rect">
            <a:avLst/>
          </a:prstGeom>
          <a:solidFill>
            <a:srgbClr val="AC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Klik om titel te bewerk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188" y="1412875"/>
            <a:ext cx="11333467" cy="5113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Klik om modeltekst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endParaRPr lang="nl-NL"/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0" y="0"/>
            <a:ext cx="12195175" cy="152400"/>
          </a:xfrm>
          <a:prstGeom prst="rect">
            <a:avLst/>
          </a:prstGeom>
          <a:solidFill>
            <a:srgbClr val="0A3A8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0" y="228600"/>
            <a:ext cx="12195175" cy="0"/>
          </a:xfrm>
          <a:prstGeom prst="line">
            <a:avLst/>
          </a:prstGeom>
          <a:noFill/>
          <a:ln w="12700">
            <a:solidFill>
              <a:srgbClr val="FF0E0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auto">
          <a:xfrm>
            <a:off x="0" y="6790592"/>
            <a:ext cx="12195175" cy="76200"/>
          </a:xfrm>
          <a:prstGeom prst="rect">
            <a:avLst/>
          </a:prstGeom>
          <a:solidFill>
            <a:srgbClr val="0A3A8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>
            <a:off x="0" y="6629400"/>
            <a:ext cx="12195175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NL" sz="2800"/>
          </a:p>
        </p:txBody>
      </p:sp>
      <p:sp>
        <p:nvSpPr>
          <p:cNvPr id="11" name="Rechthoek 10"/>
          <p:cNvSpPr/>
          <p:nvPr userDrawn="1"/>
        </p:nvSpPr>
        <p:spPr bwMode="auto">
          <a:xfrm>
            <a:off x="383145" y="6598522"/>
            <a:ext cx="6626461" cy="216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/>
            <a:r>
              <a:rPr lang="fr-BE" sz="900">
                <a:solidFill>
                  <a:srgbClr val="0A3A88"/>
                </a:solidFill>
                <a:sym typeface="Symbol" pitchFamily="18" charset="2"/>
              </a:rPr>
              <a:t> Buck Consultants International, 2023</a:t>
            </a:r>
          </a:p>
        </p:txBody>
      </p:sp>
      <p:sp>
        <p:nvSpPr>
          <p:cNvPr id="12" name="Rechthoek 11"/>
          <p:cNvSpPr/>
          <p:nvPr userDrawn="1"/>
        </p:nvSpPr>
        <p:spPr bwMode="auto">
          <a:xfrm>
            <a:off x="10869907" y="6606962"/>
            <a:ext cx="1104288" cy="216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="horz" wrap="square" lIns="93600" tIns="46800" rIns="936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2209B4-050A-4D32-B5B5-1D50896D5F01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0A3A88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000" b="1" i="0" u="none" strike="noStrike" kern="1200" cap="none" spc="0" normalizeH="0" baseline="0" noProof="0">
              <a:ln>
                <a:noFill/>
              </a:ln>
              <a:solidFill>
                <a:srgbClr val="0A3A88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13" name="Picture 5" descr="logo">
            <a:extLst>
              <a:ext uri="{FF2B5EF4-FFF2-40B4-BE49-F238E27FC236}">
                <a16:creationId xmlns:a16="http://schemas.microsoft.com/office/drawing/2014/main" id="{0D9A6BD2-B858-4A31-8593-A070E971FC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8803" y="442913"/>
            <a:ext cx="1655762" cy="538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5" r:id="rId12"/>
  </p:sldLayoutIdLst>
  <p:hf hdr="0" dt="0"/>
  <p:txStyles>
    <p:titleStyle>
      <a:lvl1pPr marL="8953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+mj-lt"/>
          <a:ea typeface="+mj-ea"/>
          <a:cs typeface="+mj-cs"/>
        </a:defRPr>
      </a:lvl1pPr>
      <a:lvl2pPr marL="8953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Arial" charset="0"/>
        </a:defRPr>
      </a:lvl2pPr>
      <a:lvl3pPr marL="8953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Arial" charset="0"/>
        </a:defRPr>
      </a:lvl3pPr>
      <a:lvl4pPr marL="8953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Arial" charset="0"/>
        </a:defRPr>
      </a:lvl4pPr>
      <a:lvl5pPr marL="8953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Arial" charset="0"/>
        </a:defRPr>
      </a:lvl5pPr>
      <a:lvl6pPr marL="13525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Arial" charset="0"/>
        </a:defRPr>
      </a:lvl6pPr>
      <a:lvl7pPr marL="18097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Arial" charset="0"/>
        </a:defRPr>
      </a:lvl7pPr>
      <a:lvl8pPr marL="22669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Arial" charset="0"/>
        </a:defRPr>
      </a:lvl8pPr>
      <a:lvl9pPr marL="2724150" indent="-493713" algn="l" rtl="0" eaLnBrk="1" fontAlgn="base" hangingPunct="1">
        <a:spcBef>
          <a:spcPct val="0"/>
        </a:spcBef>
        <a:spcAft>
          <a:spcPct val="0"/>
        </a:spcAft>
        <a:tabLst>
          <a:tab pos="895350" algn="l"/>
        </a:tabLst>
        <a:defRPr sz="3200" b="1">
          <a:solidFill>
            <a:srgbClr val="0A3A88"/>
          </a:solidFill>
          <a:latin typeface="Arial" charset="0"/>
        </a:defRPr>
      </a:lvl9pPr>
    </p:titleStyle>
    <p:bodyStyle>
      <a:lvl1pPr marL="347663" indent="-347663" algn="l" rtl="0" eaLnBrk="1" fontAlgn="base" hangingPunct="1">
        <a:spcBef>
          <a:spcPct val="20000"/>
        </a:spcBef>
        <a:spcAft>
          <a:spcPct val="0"/>
        </a:spcAft>
        <a:buClr>
          <a:srgbClr val="FF0E05"/>
        </a:buClr>
        <a:buFont typeface="Wingdings" pitchFamily="2" charset="2"/>
        <a:buChar char="l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04850" indent="-347663" algn="l" rtl="0" eaLnBrk="1" fontAlgn="base" hangingPunct="1">
        <a:spcBef>
          <a:spcPct val="20000"/>
        </a:spcBef>
        <a:spcAft>
          <a:spcPct val="0"/>
        </a:spcAft>
        <a:buClr>
          <a:srgbClr val="0A3A88"/>
        </a:buClr>
        <a:buFont typeface="Symbol" pitchFamily="18" charset="2"/>
        <a:buChar char="·"/>
        <a:defRPr sz="2000">
          <a:solidFill>
            <a:schemeClr val="tx1"/>
          </a:solidFill>
          <a:latin typeface="+mn-lt"/>
        </a:defRPr>
      </a:lvl2pPr>
      <a:lvl3pPr marL="1069975" indent="-3571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−"/>
        <a:defRPr>
          <a:solidFill>
            <a:schemeClr val="tx1"/>
          </a:solidFill>
          <a:latin typeface="+mn-lt"/>
        </a:defRPr>
      </a:lvl3pPr>
      <a:lvl4pPr marL="196215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38125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 b="1">
          <a:solidFill>
            <a:schemeClr val="tx1"/>
          </a:solidFill>
          <a:latin typeface="+mn-lt"/>
        </a:defRPr>
      </a:lvl5pPr>
      <a:lvl6pPr marL="283845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 b="1">
          <a:solidFill>
            <a:schemeClr val="tx1"/>
          </a:solidFill>
          <a:latin typeface="+mn-lt"/>
        </a:defRPr>
      </a:lvl6pPr>
      <a:lvl7pPr marL="329565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 b="1">
          <a:solidFill>
            <a:schemeClr val="tx1"/>
          </a:solidFill>
          <a:latin typeface="+mn-lt"/>
        </a:defRPr>
      </a:lvl7pPr>
      <a:lvl8pPr marL="375285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 b="1">
          <a:solidFill>
            <a:schemeClr val="tx1"/>
          </a:solidFill>
          <a:latin typeface="+mn-lt"/>
        </a:defRPr>
      </a:lvl8pPr>
      <a:lvl9pPr marL="421005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7.emf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Afbeelding 23">
            <a:extLst>
              <a:ext uri="{FF2B5EF4-FFF2-40B4-BE49-F238E27FC236}">
                <a16:creationId xmlns:a16="http://schemas.microsoft.com/office/drawing/2014/main" id="{B4C2692E-0B80-05A4-3BB2-78C1EA81A7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0399"/>
          <a:stretch/>
        </p:blipFill>
        <p:spPr>
          <a:xfrm>
            <a:off x="174" y="0"/>
            <a:ext cx="12194823" cy="6859588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B0BB911C-CA80-8406-840E-163E6349E8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8" y="291012"/>
            <a:ext cx="7273410" cy="5963085"/>
          </a:xfrm>
          <a:prstGeom prst="rect">
            <a:avLst/>
          </a:prstGeom>
        </p:spPr>
      </p:pic>
      <p:sp>
        <p:nvSpPr>
          <p:cNvPr id="7" name="Ondertitel 2">
            <a:extLst>
              <a:ext uri="{FF2B5EF4-FFF2-40B4-BE49-F238E27FC236}">
                <a16:creationId xmlns:a16="http://schemas.microsoft.com/office/drawing/2014/main" id="{E1420F04-083D-705B-C83B-1AB99CAADDA5}"/>
              </a:ext>
            </a:extLst>
          </p:cNvPr>
          <p:cNvSpPr txBox="1">
            <a:spLocks/>
          </p:cNvSpPr>
          <p:nvPr/>
        </p:nvSpPr>
        <p:spPr>
          <a:xfrm>
            <a:off x="838570" y="2025407"/>
            <a:ext cx="9146117" cy="165614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801">
              <a:solidFill>
                <a:schemeClr val="bg1"/>
              </a:solidFill>
            </a:endParaRPr>
          </a:p>
        </p:txBody>
      </p:sp>
      <p:pic>
        <p:nvPicPr>
          <p:cNvPr id="26" name="Afbeelding 25">
            <a:extLst>
              <a:ext uri="{FF2B5EF4-FFF2-40B4-BE49-F238E27FC236}">
                <a16:creationId xmlns:a16="http://schemas.microsoft.com/office/drawing/2014/main" id="{5F246CC2-9A8C-E6D3-0B1D-51E9962950B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959" t="60120" r="75344" b="2740"/>
          <a:stretch/>
        </p:blipFill>
        <p:spPr>
          <a:xfrm>
            <a:off x="3569178" y="709923"/>
            <a:ext cx="8180079" cy="5963085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649CC1D2-4CCA-D9EE-3593-121B4F32361F}"/>
              </a:ext>
            </a:extLst>
          </p:cNvPr>
          <p:cNvSpPr txBox="1">
            <a:spLocks/>
          </p:cNvSpPr>
          <p:nvPr/>
        </p:nvSpPr>
        <p:spPr>
          <a:xfrm>
            <a:off x="838570" y="1138333"/>
            <a:ext cx="6352010" cy="230088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013A57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nl-NL" sz="4401" dirty="0">
                <a:solidFill>
                  <a:schemeClr val="bg1"/>
                </a:solidFill>
                <a:latin typeface="+mn-lt"/>
                <a:ea typeface="Verdana"/>
              </a:rPr>
              <a:t>Emissiemonitoring Bouwlogistiek &amp; Mobiele werktuigen</a:t>
            </a:r>
            <a:endParaRPr lang="nl-NL" sz="440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C2D4F4C3-8C38-1CA7-818D-0C7F3235DC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05857" y="5626325"/>
            <a:ext cx="818816" cy="104668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72960D3-F49B-91D1-4154-BAA85B7B7CCA}"/>
              </a:ext>
            </a:extLst>
          </p:cNvPr>
          <p:cNvSpPr txBox="1">
            <a:spLocks/>
          </p:cNvSpPr>
          <p:nvPr/>
        </p:nvSpPr>
        <p:spPr>
          <a:xfrm>
            <a:off x="210133" y="5409069"/>
            <a:ext cx="6352010" cy="14811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013A57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nl-NL" sz="1800" dirty="0">
                <a:solidFill>
                  <a:schemeClr val="bg1"/>
                </a:solidFill>
                <a:latin typeface="+mn-lt"/>
                <a:ea typeface="Verdana"/>
              </a:rPr>
              <a:t>Inspiratiesessie Bouwlogistiek</a:t>
            </a:r>
          </a:p>
          <a:p>
            <a:r>
              <a:rPr lang="nl-NL" sz="1800" dirty="0">
                <a:solidFill>
                  <a:schemeClr val="bg1"/>
                </a:solidFill>
                <a:latin typeface="+mn-lt"/>
                <a:ea typeface="Verdana"/>
              </a:rPr>
              <a:t>27 juni 2023, Utrecht</a:t>
            </a:r>
          </a:p>
          <a:p>
            <a:endParaRPr lang="nl-NL" sz="1800" dirty="0">
              <a:solidFill>
                <a:schemeClr val="bg1"/>
              </a:solidFill>
              <a:latin typeface="+mn-lt"/>
              <a:ea typeface="Verdana"/>
            </a:endParaRPr>
          </a:p>
          <a:p>
            <a:r>
              <a:rPr lang="nl-NL" sz="1800" dirty="0">
                <a:solidFill>
                  <a:schemeClr val="bg1"/>
                </a:solidFill>
                <a:latin typeface="+mn-lt"/>
                <a:ea typeface="Verdana"/>
              </a:rPr>
              <a:t>Christiaan van Luik</a:t>
            </a:r>
          </a:p>
          <a:p>
            <a:r>
              <a:rPr lang="nl-NL" sz="1800" dirty="0">
                <a:solidFill>
                  <a:schemeClr val="bg1"/>
                </a:solidFill>
                <a:latin typeface="+mn-lt"/>
                <a:ea typeface="Verdana"/>
              </a:rPr>
              <a:t>Buck Consultants International</a:t>
            </a:r>
            <a:endParaRPr lang="nl-NL" sz="18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219612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CD1B2-F340-A957-6AC5-8B568934B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500" dirty="0"/>
              <a:t>De uitdagin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B1EDF6-60D9-0B6C-11B0-15473A7DD113}"/>
              </a:ext>
            </a:extLst>
          </p:cNvPr>
          <p:cNvSpPr txBox="1">
            <a:spLocks/>
          </p:cNvSpPr>
          <p:nvPr/>
        </p:nvSpPr>
        <p:spPr>
          <a:xfrm>
            <a:off x="828216" y="1467709"/>
            <a:ext cx="10737142" cy="4478149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</a:pPr>
            <a:r>
              <a:rPr lang="nl-NL" sz="2000" b="1" dirty="0">
                <a:solidFill>
                  <a:schemeClr val="tx1"/>
                </a:solidFill>
              </a:rPr>
              <a:t>Dat gaat natuurlijk niet vanzelf</a:t>
            </a:r>
          </a:p>
          <a:p>
            <a:pPr>
              <a:lnSpc>
                <a:spcPts val="2200"/>
              </a:lnSpc>
            </a:pPr>
            <a:endParaRPr lang="nl-NL" sz="2000" b="1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Bereidheid van partijen om mee te werken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Beschikbaarheid van de data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“Klopt de data ook’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17C55B3-4947-2432-EC19-BB82043E94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252" y="1284288"/>
            <a:ext cx="4629150" cy="490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ADB29665-56A0-8100-8A84-FE5EA56EB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9893" y="3620294"/>
            <a:ext cx="2840182" cy="1585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49803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CD1B2-F340-A957-6AC5-8B568934B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500"/>
              <a:t>Waarom meedoen?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B1EDF6-60D9-0B6C-11B0-15473A7DD113}"/>
              </a:ext>
            </a:extLst>
          </p:cNvPr>
          <p:cNvSpPr txBox="1">
            <a:spLocks/>
          </p:cNvSpPr>
          <p:nvPr/>
        </p:nvSpPr>
        <p:spPr>
          <a:xfrm>
            <a:off x="848400" y="1440000"/>
            <a:ext cx="10737142" cy="3836948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Inzicht in uw emissies is het startpunt van het zoeken naar verbeteringen in efficiëntie, hinderreductie en duurzaamheid, zoals:</a:t>
            </a:r>
          </a:p>
          <a:p>
            <a:pPr marL="800100" lvl="1" indent="-342900" algn="l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tx1"/>
                </a:solidFill>
              </a:rPr>
              <a:t>Verlagen van de faalkosten op de bouwplaats door betere afstemming inzet mobiele werktuigen en bouwproces</a:t>
            </a:r>
          </a:p>
          <a:p>
            <a:pPr marL="800100" lvl="1" indent="-342900" algn="l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1600" dirty="0">
                <a:solidFill>
                  <a:schemeClr val="tx1"/>
                </a:solidFill>
              </a:rPr>
              <a:t>Onderhoud liëren aan gebruik van materieel (onderhoudsinterval verbeteren)</a:t>
            </a: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Beter inzicht in uw </a:t>
            </a:r>
            <a:r>
              <a:rPr lang="nl-NL" sz="2000" dirty="0" err="1">
                <a:solidFill>
                  <a:schemeClr val="tx1"/>
                </a:solidFill>
              </a:rPr>
              <a:t>NOx</a:t>
            </a:r>
            <a:r>
              <a:rPr lang="nl-NL" sz="2000" dirty="0">
                <a:solidFill>
                  <a:schemeClr val="tx1"/>
                </a:solidFill>
              </a:rPr>
              <a:t> en andere emissies verbeterd uw stikstofberekeningen van de bouwplaats ten behoeve van vergunningsaanvragen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U krijgt te mogelijkheid mee te denken in de ontwikkelingsfase van reductie-gerelateerde wet- en regelgeving over emissiemetingen en -rapportages, een betere voorbereiding op de toekomst is er (haast) niet!</a:t>
            </a:r>
          </a:p>
        </p:txBody>
      </p:sp>
    </p:spTree>
    <p:extLst>
      <p:ext uri="{BB962C8B-B14F-4D97-AF65-F5344CB8AC3E}">
        <p14:creationId xmlns:p14="http://schemas.microsoft.com/office/powerpoint/2010/main" val="252985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CD1B2-F340-A957-6AC5-8B568934B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500" dirty="0"/>
              <a:t>Verhaallij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B1EDF6-60D9-0B6C-11B0-15473A7DD113}"/>
              </a:ext>
            </a:extLst>
          </p:cNvPr>
          <p:cNvSpPr txBox="1">
            <a:spLocks/>
          </p:cNvSpPr>
          <p:nvPr/>
        </p:nvSpPr>
        <p:spPr>
          <a:xfrm>
            <a:off x="848400" y="1440000"/>
            <a:ext cx="10737142" cy="2015936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Inbedding Living Labs binnen bouwlogistiek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Welke living labs zijn er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Diversiteit aan type projecten, doelen, overeenkomsten en verschillen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Actueel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Kennisborging, Lessen die we trekken</a:t>
            </a:r>
          </a:p>
        </p:txBody>
      </p:sp>
    </p:spTree>
    <p:extLst>
      <p:ext uri="{BB962C8B-B14F-4D97-AF65-F5344CB8AC3E}">
        <p14:creationId xmlns:p14="http://schemas.microsoft.com/office/powerpoint/2010/main" val="2883658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CD1B2-F340-A957-6AC5-8B568934B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500"/>
              <a:t>Scope van dit project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F8C9A1C-B504-4954-A48B-E67286698E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415" y="1264111"/>
            <a:ext cx="7120436" cy="5343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C3A74C3-1502-AA88-BE3E-5F853035BA95}"/>
              </a:ext>
            </a:extLst>
          </p:cNvPr>
          <p:cNvSpPr/>
          <p:nvPr/>
        </p:nvSpPr>
        <p:spPr>
          <a:xfrm>
            <a:off x="659680" y="1756953"/>
            <a:ext cx="528419" cy="1587137"/>
          </a:xfrm>
          <a:prstGeom prst="rect">
            <a:avLst/>
          </a:prstGeom>
          <a:noFill/>
          <a:ln w="57150">
            <a:solidFill>
              <a:srgbClr val="FF0E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jdelijke aanduiding voor inhoud 2">
            <a:extLst>
              <a:ext uri="{FF2B5EF4-FFF2-40B4-BE49-F238E27FC236}">
                <a16:creationId xmlns:a16="http://schemas.microsoft.com/office/drawing/2014/main" id="{CAEE519F-5FB4-74E2-E8FA-70F4BA984F6E}"/>
              </a:ext>
            </a:extLst>
          </p:cNvPr>
          <p:cNvSpPr txBox="1">
            <a:spLocks/>
          </p:cNvSpPr>
          <p:nvPr/>
        </p:nvSpPr>
        <p:spPr>
          <a:xfrm>
            <a:off x="7831183" y="1276715"/>
            <a:ext cx="4167051" cy="2605842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</a:pPr>
            <a:r>
              <a:rPr lang="nl-NL" sz="2000" b="1" dirty="0">
                <a:solidFill>
                  <a:schemeClr val="tx1"/>
                </a:solidFill>
              </a:rPr>
              <a:t>Wat doen we?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Monitoring van transportbewegingen (mens, materieel en materiaal) ten behoeve van de bouw</a:t>
            </a:r>
            <a:endParaRPr lang="nl-NL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 err="1">
                <a:solidFill>
                  <a:schemeClr val="tx1"/>
                </a:solidFill>
              </a:rPr>
              <a:t>Sensoring</a:t>
            </a:r>
            <a:r>
              <a:rPr lang="nl-NL" sz="2000" dirty="0">
                <a:solidFill>
                  <a:schemeClr val="tx1"/>
                </a:solidFill>
              </a:rPr>
              <a:t> van mobiele werktuigen om verbruiken (en daarmee emissies) te meten</a:t>
            </a:r>
          </a:p>
        </p:txBody>
      </p:sp>
      <p:sp>
        <p:nvSpPr>
          <p:cNvPr id="6" name="Tijdelijke aanduiding voor inhoud 2">
            <a:extLst>
              <a:ext uri="{FF2B5EF4-FFF2-40B4-BE49-F238E27FC236}">
                <a16:creationId xmlns:a16="http://schemas.microsoft.com/office/drawing/2014/main" id="{0AC122E0-EE2B-B34E-0E40-4A12F08DE864}"/>
              </a:ext>
            </a:extLst>
          </p:cNvPr>
          <p:cNvSpPr txBox="1">
            <a:spLocks/>
          </p:cNvSpPr>
          <p:nvPr/>
        </p:nvSpPr>
        <p:spPr>
          <a:xfrm>
            <a:off x="7831182" y="4280174"/>
            <a:ext cx="4167051" cy="2323713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</a:pPr>
            <a:r>
              <a:rPr lang="nl-NL" sz="2000" b="1" dirty="0">
                <a:solidFill>
                  <a:schemeClr val="tx1"/>
                </a:solidFill>
              </a:rPr>
              <a:t>Wat doen we daarmee?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In kaart brengen van emissies (CO2, </a:t>
            </a:r>
            <a:r>
              <a:rPr lang="nl-NL" sz="2000" dirty="0" err="1">
                <a:solidFill>
                  <a:schemeClr val="tx1"/>
                </a:solidFill>
              </a:rPr>
              <a:t>NOx</a:t>
            </a:r>
            <a:r>
              <a:rPr lang="nl-NL" sz="2000" dirty="0">
                <a:solidFill>
                  <a:schemeClr val="tx1"/>
                </a:solidFill>
              </a:rPr>
              <a:t>) gerelateerd aan bouwprojecten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Verfijnen van kengetallen om toekomstige voorspellingen accurater te maken</a:t>
            </a:r>
          </a:p>
        </p:txBody>
      </p:sp>
    </p:spTree>
    <p:extLst>
      <p:ext uri="{BB962C8B-B14F-4D97-AF65-F5344CB8AC3E}">
        <p14:creationId xmlns:p14="http://schemas.microsoft.com/office/powerpoint/2010/main" val="3232573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CD1B2-F340-A957-6AC5-8B568934B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ynamiek Bouwlogistiek en Mobiele werktuig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D3DABF-4320-1508-DB6C-9BB532A5C6FF}"/>
              </a:ext>
            </a:extLst>
          </p:cNvPr>
          <p:cNvSpPr/>
          <p:nvPr/>
        </p:nvSpPr>
        <p:spPr bwMode="auto">
          <a:xfrm>
            <a:off x="2869402" y="1381625"/>
            <a:ext cx="7776639" cy="12241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98" tIns="46799" rIns="93598" bIns="46799" numCol="1" rtlCol="0" anchor="t" anchorCtr="0" compatLnSpc="1">
            <a:prstTxWarp prst="textNoShape">
              <a:avLst/>
            </a:prstTxWarp>
          </a:bodyPr>
          <a:lstStyle/>
          <a:p>
            <a:pPr defTabSz="914309"/>
            <a:r>
              <a:rPr lang="nl-NL" sz="1600"/>
              <a:t>Transport van materiaal &amp; bouwafva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49C80C-1580-D1F8-CF12-7ED9FF657E62}"/>
              </a:ext>
            </a:extLst>
          </p:cNvPr>
          <p:cNvSpPr/>
          <p:nvPr/>
        </p:nvSpPr>
        <p:spPr bwMode="auto">
          <a:xfrm>
            <a:off x="2869402" y="4167906"/>
            <a:ext cx="7776639" cy="12241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98" tIns="46799" rIns="93598" bIns="46799" numCol="1" rtlCol="0" anchor="t" anchorCtr="0" compatLnSpc="1">
            <a:prstTxWarp prst="textNoShape">
              <a:avLst/>
            </a:prstTxWarp>
          </a:bodyPr>
          <a:lstStyle/>
          <a:p>
            <a:pPr defTabSz="914309"/>
            <a:r>
              <a:rPr lang="nl-NL" sz="1600"/>
              <a:t>Transport van materie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CC4248-9CAD-4722-B0CE-79C68025E722}"/>
              </a:ext>
            </a:extLst>
          </p:cNvPr>
          <p:cNvSpPr/>
          <p:nvPr/>
        </p:nvSpPr>
        <p:spPr bwMode="auto">
          <a:xfrm>
            <a:off x="2869402" y="5550498"/>
            <a:ext cx="7776639" cy="12241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98" tIns="46799" rIns="93598" bIns="46799" numCol="1" rtlCol="0" anchor="t" anchorCtr="0" compatLnSpc="1">
            <a:prstTxWarp prst="textNoShape">
              <a:avLst/>
            </a:prstTxWarp>
          </a:bodyPr>
          <a:lstStyle/>
          <a:p>
            <a:pPr defTabSz="914309"/>
            <a:r>
              <a:rPr lang="nl-NL" sz="1600"/>
              <a:t>Transport van persone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49D6495-1A6C-4280-001F-7F68473532F2}"/>
              </a:ext>
            </a:extLst>
          </p:cNvPr>
          <p:cNvSpPr/>
          <p:nvPr/>
        </p:nvSpPr>
        <p:spPr bwMode="auto">
          <a:xfrm>
            <a:off x="3240000" y="1693829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/>
              <a:t>Leverancier/groothand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7EF100-6942-72D0-1A25-108BBC85C538}"/>
              </a:ext>
            </a:extLst>
          </p:cNvPr>
          <p:cNvSpPr/>
          <p:nvPr/>
        </p:nvSpPr>
        <p:spPr bwMode="auto">
          <a:xfrm>
            <a:off x="3240000" y="2161866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/>
              <a:t>Transporteu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F9A87F2-5BEA-1C8A-3541-CE286F73579B}"/>
              </a:ext>
            </a:extLst>
          </p:cNvPr>
          <p:cNvSpPr/>
          <p:nvPr/>
        </p:nvSpPr>
        <p:spPr bwMode="auto">
          <a:xfrm>
            <a:off x="3240000" y="5923081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/>
              <a:t>Aannem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E332407-8F45-6813-AECD-627C409546BE}"/>
              </a:ext>
            </a:extLst>
          </p:cNvPr>
          <p:cNvSpPr/>
          <p:nvPr/>
        </p:nvSpPr>
        <p:spPr bwMode="auto">
          <a:xfrm>
            <a:off x="3240000" y="6351298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/>
              <a:t>Onderaannem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5750F2-6FDC-0F02-E6BA-22BA134C5175}"/>
              </a:ext>
            </a:extLst>
          </p:cNvPr>
          <p:cNvSpPr/>
          <p:nvPr/>
        </p:nvSpPr>
        <p:spPr bwMode="auto">
          <a:xfrm>
            <a:off x="3240000" y="4953316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/>
              <a:t>Transporteu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852750-A235-84BE-26A6-DED4B22991F0}"/>
              </a:ext>
            </a:extLst>
          </p:cNvPr>
          <p:cNvSpPr/>
          <p:nvPr/>
        </p:nvSpPr>
        <p:spPr bwMode="auto">
          <a:xfrm>
            <a:off x="3240000" y="4492332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/>
              <a:t>Materieeldienst</a:t>
            </a: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B285F260-5F61-06BA-018B-E4FEF34841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6264" y="4259111"/>
            <a:ext cx="1666100" cy="540995"/>
          </a:xfrm>
          <a:prstGeom prst="rect">
            <a:avLst/>
          </a:prstGeom>
        </p:spPr>
      </p:pic>
      <p:pic>
        <p:nvPicPr>
          <p:cNvPr id="71" name="Graphic 70" descr="Car with solid fill">
            <a:extLst>
              <a:ext uri="{FF2B5EF4-FFF2-40B4-BE49-F238E27FC236}">
                <a16:creationId xmlns:a16="http://schemas.microsoft.com/office/drawing/2014/main" id="{8D92F3D4-02E7-8EC0-7C36-9B9C292477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48062" y="6244066"/>
            <a:ext cx="615522" cy="615522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10CCE50A-CEA5-E5D2-7418-6A21A125D68E}"/>
              </a:ext>
            </a:extLst>
          </p:cNvPr>
          <p:cNvGrpSpPr>
            <a:grpSpLocks noChangeAspect="1"/>
          </p:cNvGrpSpPr>
          <p:nvPr/>
        </p:nvGrpSpPr>
        <p:grpSpPr>
          <a:xfrm>
            <a:off x="8456649" y="2162134"/>
            <a:ext cx="982632" cy="422173"/>
            <a:chOff x="4299410" y="4388942"/>
            <a:chExt cx="4827311" cy="2073981"/>
          </a:xfrm>
          <a:solidFill>
            <a:srgbClr val="007AC2"/>
          </a:solidFill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5CA1A80F-89E5-1E18-0E76-F301EF1BED1F}"/>
                </a:ext>
              </a:extLst>
            </p:cNvPr>
            <p:cNvSpPr/>
            <p:nvPr/>
          </p:nvSpPr>
          <p:spPr bwMode="auto">
            <a:xfrm>
              <a:off x="4348291" y="5667649"/>
              <a:ext cx="3652188" cy="1306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Trapezoid 73">
              <a:extLst>
                <a:ext uri="{FF2B5EF4-FFF2-40B4-BE49-F238E27FC236}">
                  <a16:creationId xmlns:a16="http://schemas.microsoft.com/office/drawing/2014/main" id="{86B51323-D07C-AB98-6CF6-90034172DE7B}"/>
                </a:ext>
              </a:extLst>
            </p:cNvPr>
            <p:cNvSpPr/>
            <p:nvPr/>
          </p:nvSpPr>
          <p:spPr bwMode="auto">
            <a:xfrm rot="10800000">
              <a:off x="5958526" y="5821155"/>
              <a:ext cx="814941" cy="288730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L-Shape 74">
              <a:extLst>
                <a:ext uri="{FF2B5EF4-FFF2-40B4-BE49-F238E27FC236}">
                  <a16:creationId xmlns:a16="http://schemas.microsoft.com/office/drawing/2014/main" id="{AD7AA011-4F5C-488F-74E3-40DD48A0B93C}"/>
                </a:ext>
              </a:extLst>
            </p:cNvPr>
            <p:cNvSpPr/>
            <p:nvPr/>
          </p:nvSpPr>
          <p:spPr bwMode="auto">
            <a:xfrm flipH="1">
              <a:off x="4299410" y="5667649"/>
              <a:ext cx="45719" cy="400211"/>
            </a:xfrm>
            <a:prstGeom prst="corner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1A06499C-9877-5D66-30EE-61749DC216FB}"/>
                </a:ext>
              </a:extLst>
            </p:cNvPr>
            <p:cNvSpPr/>
            <p:nvPr/>
          </p:nvSpPr>
          <p:spPr bwMode="auto">
            <a:xfrm>
              <a:off x="8044996" y="4781620"/>
              <a:ext cx="526597" cy="59902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Trapezoid 37">
              <a:extLst>
                <a:ext uri="{FF2B5EF4-FFF2-40B4-BE49-F238E27FC236}">
                  <a16:creationId xmlns:a16="http://schemas.microsoft.com/office/drawing/2014/main" id="{CFB7249F-C4A3-1E3A-60DA-00372627658D}"/>
                </a:ext>
              </a:extLst>
            </p:cNvPr>
            <p:cNvSpPr/>
            <p:nvPr/>
          </p:nvSpPr>
          <p:spPr bwMode="auto">
            <a:xfrm>
              <a:off x="8044996" y="4625378"/>
              <a:ext cx="877775" cy="125537"/>
            </a:xfrm>
            <a:custGeom>
              <a:avLst/>
              <a:gdLst>
                <a:gd name="connsiteX0" fmla="*/ 0 w 853278"/>
                <a:gd name="connsiteY0" fmla="*/ 148501 h 148501"/>
                <a:gd name="connsiteX1" fmla="*/ 37125 w 853278"/>
                <a:gd name="connsiteY1" fmla="*/ 0 h 148501"/>
                <a:gd name="connsiteX2" fmla="*/ 81615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8595 w 861873"/>
                <a:gd name="connsiteY0" fmla="*/ 148501 h 148501"/>
                <a:gd name="connsiteX1" fmla="*/ 0 w 861873"/>
                <a:gd name="connsiteY1" fmla="*/ 15240 h 148501"/>
                <a:gd name="connsiteX2" fmla="*/ 824748 w 861873"/>
                <a:gd name="connsiteY2" fmla="*/ 0 h 148501"/>
                <a:gd name="connsiteX3" fmla="*/ 861873 w 861873"/>
                <a:gd name="connsiteY3" fmla="*/ 148501 h 148501"/>
                <a:gd name="connsiteX4" fmla="*/ 8595 w 861873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81615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488493 w 853278"/>
                <a:gd name="connsiteY2" fmla="*/ 762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46563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278" h="148501">
                  <a:moveTo>
                    <a:pt x="0" y="148501"/>
                  </a:moveTo>
                  <a:lnTo>
                    <a:pt x="14265" y="0"/>
                  </a:lnTo>
                  <a:lnTo>
                    <a:pt x="465633" y="0"/>
                  </a:lnTo>
                  <a:lnTo>
                    <a:pt x="853278" y="148501"/>
                  </a:lnTo>
                  <a:lnTo>
                    <a:pt x="0" y="148501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BF55377-1B85-1E4F-22B5-C0930E47C505}"/>
                </a:ext>
              </a:extLst>
            </p:cNvPr>
            <p:cNvSpPr/>
            <p:nvPr/>
          </p:nvSpPr>
          <p:spPr bwMode="auto">
            <a:xfrm>
              <a:off x="8894473" y="6121927"/>
              <a:ext cx="232248" cy="4572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FE78B9A0-F9CE-7558-198D-869565954454}"/>
                </a:ext>
              </a:extLst>
            </p:cNvPr>
            <p:cNvSpPr/>
            <p:nvPr/>
          </p:nvSpPr>
          <p:spPr bwMode="auto">
            <a:xfrm>
              <a:off x="8823050" y="5372639"/>
              <a:ext cx="288000" cy="608625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2471AB5B-FC1B-3B09-2A0F-5F2C2CE9E05F}"/>
                </a:ext>
              </a:extLst>
            </p:cNvPr>
            <p:cNvSpPr/>
            <p:nvPr/>
          </p:nvSpPr>
          <p:spPr bwMode="auto">
            <a:xfrm>
              <a:off x="9078449" y="5380257"/>
              <a:ext cx="45719" cy="778581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65C77A53-6BA7-390A-E3CB-0DB2EAD0C5AC}"/>
                </a:ext>
              </a:extLst>
            </p:cNvPr>
            <p:cNvSpPr/>
            <p:nvPr/>
          </p:nvSpPr>
          <p:spPr bwMode="auto">
            <a:xfrm>
              <a:off x="8898630" y="6028736"/>
              <a:ext cx="213853" cy="45719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CDEBCBF0-3C30-B31E-FD5A-0DDFB2697C66}"/>
                </a:ext>
              </a:extLst>
            </p:cNvPr>
            <p:cNvSpPr/>
            <p:nvPr/>
          </p:nvSpPr>
          <p:spPr bwMode="auto">
            <a:xfrm>
              <a:off x="8571012" y="4781230"/>
              <a:ext cx="43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9A90DA1-050E-23E0-CD9A-5A50B45C9C74}"/>
                </a:ext>
              </a:extLst>
            </p:cNvPr>
            <p:cNvSpPr/>
            <p:nvPr/>
          </p:nvSpPr>
          <p:spPr bwMode="auto">
            <a:xfrm rot="4797776">
              <a:off x="8747732" y="5071989"/>
              <a:ext cx="61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1734E6FC-2BF4-1B69-7239-4CBBA40BAC7D}"/>
                </a:ext>
              </a:extLst>
            </p:cNvPr>
            <p:cNvSpPr/>
            <p:nvPr/>
          </p:nvSpPr>
          <p:spPr bwMode="auto">
            <a:xfrm>
              <a:off x="8894473" y="5370290"/>
              <a:ext cx="45719" cy="778581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Block Arc 84">
              <a:extLst>
                <a:ext uri="{FF2B5EF4-FFF2-40B4-BE49-F238E27FC236}">
                  <a16:creationId xmlns:a16="http://schemas.microsoft.com/office/drawing/2014/main" id="{D8F11F1E-1374-0538-D045-FD63EE133D67}"/>
                </a:ext>
              </a:extLst>
            </p:cNvPr>
            <p:cNvSpPr/>
            <p:nvPr/>
          </p:nvSpPr>
          <p:spPr bwMode="auto">
            <a:xfrm>
              <a:off x="8263558" y="5833184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648CFD4-6D93-85E0-AD9A-1860302F126A}"/>
                </a:ext>
              </a:extLst>
            </p:cNvPr>
            <p:cNvSpPr/>
            <p:nvPr/>
          </p:nvSpPr>
          <p:spPr bwMode="auto">
            <a:xfrm>
              <a:off x="8048158" y="5373745"/>
              <a:ext cx="778274" cy="50560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Trapezoid 86">
              <a:extLst>
                <a:ext uri="{FF2B5EF4-FFF2-40B4-BE49-F238E27FC236}">
                  <a16:creationId xmlns:a16="http://schemas.microsoft.com/office/drawing/2014/main" id="{7F95578E-D176-ADC2-A893-C798EFF51109}"/>
                </a:ext>
              </a:extLst>
            </p:cNvPr>
            <p:cNvSpPr/>
            <p:nvPr/>
          </p:nvSpPr>
          <p:spPr bwMode="auto">
            <a:xfrm rot="10800000">
              <a:off x="8208157" y="5812432"/>
              <a:ext cx="168825" cy="11741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Circle: Hollow 87">
              <a:extLst>
                <a:ext uri="{FF2B5EF4-FFF2-40B4-BE49-F238E27FC236}">
                  <a16:creationId xmlns:a16="http://schemas.microsoft.com/office/drawing/2014/main" id="{A4D81C5A-AEB3-D21B-BEB6-CE5D4EB1EAED}"/>
                </a:ext>
              </a:extLst>
            </p:cNvPr>
            <p:cNvSpPr/>
            <p:nvPr/>
          </p:nvSpPr>
          <p:spPr bwMode="auto">
            <a:xfrm>
              <a:off x="8326772" y="5920600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5B843F5F-31F7-2E8C-1C5B-C90F7A68D8A0}"/>
                </a:ext>
              </a:extLst>
            </p:cNvPr>
            <p:cNvSpPr/>
            <p:nvPr/>
          </p:nvSpPr>
          <p:spPr bwMode="auto">
            <a:xfrm>
              <a:off x="8542772" y="6136600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lowchart: Delay 89">
              <a:extLst>
                <a:ext uri="{FF2B5EF4-FFF2-40B4-BE49-F238E27FC236}">
                  <a16:creationId xmlns:a16="http://schemas.microsoft.com/office/drawing/2014/main" id="{4A1C2529-363B-DA1B-4065-5F929DA617FC}"/>
                </a:ext>
              </a:extLst>
            </p:cNvPr>
            <p:cNvSpPr/>
            <p:nvPr/>
          </p:nvSpPr>
          <p:spPr bwMode="auto">
            <a:xfrm>
              <a:off x="7145816" y="5821998"/>
              <a:ext cx="198999" cy="357772"/>
            </a:xfrm>
            <a:prstGeom prst="flowChartDelay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lowchart: Delay 90">
              <a:extLst>
                <a:ext uri="{FF2B5EF4-FFF2-40B4-BE49-F238E27FC236}">
                  <a16:creationId xmlns:a16="http://schemas.microsoft.com/office/drawing/2014/main" id="{232AE90B-A238-9484-5283-B7BE07C84C2C}"/>
                </a:ext>
              </a:extLst>
            </p:cNvPr>
            <p:cNvSpPr/>
            <p:nvPr/>
          </p:nvSpPr>
          <p:spPr bwMode="auto">
            <a:xfrm rot="10800000">
              <a:off x="6751928" y="5806137"/>
              <a:ext cx="215079" cy="360222"/>
            </a:xfrm>
            <a:prstGeom prst="flowChartDelay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C92C6549-1E06-5EF7-4618-B1B0010B6F81}"/>
                </a:ext>
              </a:extLst>
            </p:cNvPr>
            <p:cNvSpPr/>
            <p:nvPr/>
          </p:nvSpPr>
          <p:spPr bwMode="auto">
            <a:xfrm>
              <a:off x="6995596" y="5813834"/>
              <a:ext cx="117143" cy="36022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7EBF2FD2-35F5-E122-5D25-29601E1B850A}"/>
                </a:ext>
              </a:extLst>
            </p:cNvPr>
            <p:cNvSpPr/>
            <p:nvPr/>
          </p:nvSpPr>
          <p:spPr bwMode="auto">
            <a:xfrm>
              <a:off x="7876576" y="5875388"/>
              <a:ext cx="427718" cy="2345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Block Arc 93">
              <a:extLst>
                <a:ext uri="{FF2B5EF4-FFF2-40B4-BE49-F238E27FC236}">
                  <a16:creationId xmlns:a16="http://schemas.microsoft.com/office/drawing/2014/main" id="{2EB9CCC3-E170-8710-0F73-802DC9748B69}"/>
                </a:ext>
              </a:extLst>
            </p:cNvPr>
            <p:cNvSpPr/>
            <p:nvPr/>
          </p:nvSpPr>
          <p:spPr bwMode="auto">
            <a:xfrm>
              <a:off x="4428981" y="5828780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Block Arc 94">
              <a:extLst>
                <a:ext uri="{FF2B5EF4-FFF2-40B4-BE49-F238E27FC236}">
                  <a16:creationId xmlns:a16="http://schemas.microsoft.com/office/drawing/2014/main" id="{B6BA45F4-C6FC-43FD-2136-758C099C4EDC}"/>
                </a:ext>
              </a:extLst>
            </p:cNvPr>
            <p:cNvSpPr/>
            <p:nvPr/>
          </p:nvSpPr>
          <p:spPr bwMode="auto">
            <a:xfrm>
              <a:off x="5005818" y="5821155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Circle: Hollow 95">
              <a:extLst>
                <a:ext uri="{FF2B5EF4-FFF2-40B4-BE49-F238E27FC236}">
                  <a16:creationId xmlns:a16="http://schemas.microsoft.com/office/drawing/2014/main" id="{C2BFAC83-B0B8-5B66-BC8E-5C00B3B6E504}"/>
                </a:ext>
              </a:extLst>
            </p:cNvPr>
            <p:cNvSpPr/>
            <p:nvPr/>
          </p:nvSpPr>
          <p:spPr bwMode="auto">
            <a:xfrm>
              <a:off x="4483386" y="5916552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83568721-962A-80E4-15C8-4DFD411232FC}"/>
                </a:ext>
              </a:extLst>
            </p:cNvPr>
            <p:cNvSpPr/>
            <p:nvPr/>
          </p:nvSpPr>
          <p:spPr bwMode="auto">
            <a:xfrm>
              <a:off x="4699386" y="6132552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Circle: Hollow 97">
              <a:extLst>
                <a:ext uri="{FF2B5EF4-FFF2-40B4-BE49-F238E27FC236}">
                  <a16:creationId xmlns:a16="http://schemas.microsoft.com/office/drawing/2014/main" id="{E95E5B89-374E-3152-77FA-87672D4D1DF0}"/>
                </a:ext>
              </a:extLst>
            </p:cNvPr>
            <p:cNvSpPr/>
            <p:nvPr/>
          </p:nvSpPr>
          <p:spPr bwMode="auto">
            <a:xfrm>
              <a:off x="5057507" y="5908927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314BF1A9-469A-8AE1-4503-490243D5744E}"/>
                </a:ext>
              </a:extLst>
            </p:cNvPr>
            <p:cNvSpPr/>
            <p:nvPr/>
          </p:nvSpPr>
          <p:spPr bwMode="auto">
            <a:xfrm>
              <a:off x="5273507" y="6124927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Trapezoid 99">
              <a:extLst>
                <a:ext uri="{FF2B5EF4-FFF2-40B4-BE49-F238E27FC236}">
                  <a16:creationId xmlns:a16="http://schemas.microsoft.com/office/drawing/2014/main" id="{88DE1FC6-8C7B-018A-9887-6EABDE5F99D1}"/>
                </a:ext>
              </a:extLst>
            </p:cNvPr>
            <p:cNvSpPr/>
            <p:nvPr/>
          </p:nvSpPr>
          <p:spPr bwMode="auto">
            <a:xfrm rot="10800000">
              <a:off x="4392859" y="5791436"/>
              <a:ext cx="1329326" cy="11464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Trapezoid 100">
              <a:extLst>
                <a:ext uri="{FF2B5EF4-FFF2-40B4-BE49-F238E27FC236}">
                  <a16:creationId xmlns:a16="http://schemas.microsoft.com/office/drawing/2014/main" id="{390E585E-2E61-0DA9-217B-B5A7A941E9ED}"/>
                </a:ext>
              </a:extLst>
            </p:cNvPr>
            <p:cNvSpPr/>
            <p:nvPr/>
          </p:nvSpPr>
          <p:spPr bwMode="auto">
            <a:xfrm rot="10800000">
              <a:off x="4322316" y="5821793"/>
              <a:ext cx="160450" cy="168575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Block Arc 101">
              <a:extLst>
                <a:ext uri="{FF2B5EF4-FFF2-40B4-BE49-F238E27FC236}">
                  <a16:creationId xmlns:a16="http://schemas.microsoft.com/office/drawing/2014/main" id="{1D783F7A-C778-F799-1B31-6EFA2CF4452A}"/>
                </a:ext>
              </a:extLst>
            </p:cNvPr>
            <p:cNvSpPr/>
            <p:nvPr/>
          </p:nvSpPr>
          <p:spPr bwMode="auto">
            <a:xfrm>
              <a:off x="7310242" y="5835151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Circle: Hollow 102">
              <a:extLst>
                <a:ext uri="{FF2B5EF4-FFF2-40B4-BE49-F238E27FC236}">
                  <a16:creationId xmlns:a16="http://schemas.microsoft.com/office/drawing/2014/main" id="{D25937D9-F093-6FC6-1E7F-F46A750FAD77}"/>
                </a:ext>
              </a:extLst>
            </p:cNvPr>
            <p:cNvSpPr/>
            <p:nvPr/>
          </p:nvSpPr>
          <p:spPr bwMode="auto">
            <a:xfrm>
              <a:off x="7361931" y="5922923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BFB5F091-9BB1-5E7C-12A1-4EB6EBE75DDC}"/>
                </a:ext>
              </a:extLst>
            </p:cNvPr>
            <p:cNvSpPr/>
            <p:nvPr/>
          </p:nvSpPr>
          <p:spPr bwMode="auto">
            <a:xfrm>
              <a:off x="7577931" y="6138923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F86D6DB2-F667-75A1-DA3F-C7ED8BF07BEE}"/>
                </a:ext>
              </a:extLst>
            </p:cNvPr>
            <p:cNvSpPr/>
            <p:nvPr/>
          </p:nvSpPr>
          <p:spPr bwMode="auto">
            <a:xfrm>
              <a:off x="7536135" y="4907047"/>
              <a:ext cx="275536" cy="277569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Trapezoid 105">
              <a:extLst>
                <a:ext uri="{FF2B5EF4-FFF2-40B4-BE49-F238E27FC236}">
                  <a16:creationId xmlns:a16="http://schemas.microsoft.com/office/drawing/2014/main" id="{DA51DD86-7C79-95F5-A74B-306D5E3DEBDE}"/>
                </a:ext>
              </a:extLst>
            </p:cNvPr>
            <p:cNvSpPr/>
            <p:nvPr/>
          </p:nvSpPr>
          <p:spPr bwMode="auto">
            <a:xfrm>
              <a:off x="7460195" y="5391556"/>
              <a:ext cx="411156" cy="288730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Trapezoid 106">
              <a:extLst>
                <a:ext uri="{FF2B5EF4-FFF2-40B4-BE49-F238E27FC236}">
                  <a16:creationId xmlns:a16="http://schemas.microsoft.com/office/drawing/2014/main" id="{43B87F62-746C-3B44-F900-2B64F5517CE8}"/>
                </a:ext>
              </a:extLst>
            </p:cNvPr>
            <p:cNvSpPr/>
            <p:nvPr/>
          </p:nvSpPr>
          <p:spPr bwMode="auto">
            <a:xfrm>
              <a:off x="7537766" y="5140932"/>
              <a:ext cx="148292" cy="288730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7EA0BF96-2AE0-6C53-5E6D-01C614D4C858}"/>
                </a:ext>
              </a:extLst>
            </p:cNvPr>
            <p:cNvSpPr/>
            <p:nvPr/>
          </p:nvSpPr>
          <p:spPr bwMode="auto">
            <a:xfrm>
              <a:off x="4807386" y="4388942"/>
              <a:ext cx="2743698" cy="1262487"/>
            </a:xfrm>
            <a:custGeom>
              <a:avLst/>
              <a:gdLst>
                <a:gd name="connsiteX0" fmla="*/ 2419927 w 2456872"/>
                <a:gd name="connsiteY0" fmla="*/ 988291 h 1052946"/>
                <a:gd name="connsiteX1" fmla="*/ 1671781 w 2456872"/>
                <a:gd name="connsiteY1" fmla="*/ 1052946 h 1052946"/>
                <a:gd name="connsiteX2" fmla="*/ 1108363 w 2456872"/>
                <a:gd name="connsiteY2" fmla="*/ 988291 h 1052946"/>
                <a:gd name="connsiteX3" fmla="*/ 0 w 2456872"/>
                <a:gd name="connsiteY3" fmla="*/ 646546 h 1052946"/>
                <a:gd name="connsiteX4" fmla="*/ 138545 w 2456872"/>
                <a:gd name="connsiteY4" fmla="*/ 46182 h 1052946"/>
                <a:gd name="connsiteX5" fmla="*/ 1200727 w 2456872"/>
                <a:gd name="connsiteY5" fmla="*/ 0 h 1052946"/>
                <a:gd name="connsiteX6" fmla="*/ 1865745 w 2456872"/>
                <a:gd name="connsiteY6" fmla="*/ 110837 h 1052946"/>
                <a:gd name="connsiteX7" fmla="*/ 2456872 w 2456872"/>
                <a:gd name="connsiteY7" fmla="*/ 350982 h 1052946"/>
                <a:gd name="connsiteX8" fmla="*/ 2419927 w 2456872"/>
                <a:gd name="connsiteY8" fmla="*/ 988291 h 105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6872" h="1052946">
                  <a:moveTo>
                    <a:pt x="2419927" y="988291"/>
                  </a:moveTo>
                  <a:lnTo>
                    <a:pt x="1671781" y="1052946"/>
                  </a:lnTo>
                  <a:lnTo>
                    <a:pt x="1108363" y="988291"/>
                  </a:lnTo>
                  <a:lnTo>
                    <a:pt x="0" y="646546"/>
                  </a:lnTo>
                  <a:lnTo>
                    <a:pt x="138545" y="46182"/>
                  </a:lnTo>
                  <a:lnTo>
                    <a:pt x="1200727" y="0"/>
                  </a:lnTo>
                  <a:lnTo>
                    <a:pt x="1865745" y="110837"/>
                  </a:lnTo>
                  <a:lnTo>
                    <a:pt x="2456872" y="350982"/>
                  </a:lnTo>
                  <a:lnTo>
                    <a:pt x="2419927" y="988291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Trapezoid 108">
              <a:extLst>
                <a:ext uri="{FF2B5EF4-FFF2-40B4-BE49-F238E27FC236}">
                  <a16:creationId xmlns:a16="http://schemas.microsoft.com/office/drawing/2014/main" id="{6479CCCD-4AA6-6AF8-12F8-88E672B74D9F}"/>
                </a:ext>
              </a:extLst>
            </p:cNvPr>
            <p:cNvSpPr/>
            <p:nvPr/>
          </p:nvSpPr>
          <p:spPr bwMode="auto">
            <a:xfrm rot="6060261">
              <a:off x="4986041" y="4754712"/>
              <a:ext cx="577356" cy="1678235"/>
            </a:xfrm>
            <a:prstGeom prst="trapezoid">
              <a:avLst>
                <a:gd name="adj" fmla="val 5000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Trapezoid 109">
              <a:extLst>
                <a:ext uri="{FF2B5EF4-FFF2-40B4-BE49-F238E27FC236}">
                  <a16:creationId xmlns:a16="http://schemas.microsoft.com/office/drawing/2014/main" id="{C8F8D57F-3FDE-1D1C-4670-F78B2D33949B}"/>
                </a:ext>
              </a:extLst>
            </p:cNvPr>
            <p:cNvSpPr/>
            <p:nvPr/>
          </p:nvSpPr>
          <p:spPr bwMode="auto">
            <a:xfrm rot="9591485">
              <a:off x="4525235" y="4666307"/>
              <a:ext cx="471164" cy="1263229"/>
            </a:xfrm>
            <a:prstGeom prst="trapezoid">
              <a:avLst>
                <a:gd name="adj" fmla="val 5000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Trapezoid 110">
              <a:extLst>
                <a:ext uri="{FF2B5EF4-FFF2-40B4-BE49-F238E27FC236}">
                  <a16:creationId xmlns:a16="http://schemas.microsoft.com/office/drawing/2014/main" id="{6B5AFFA0-CED1-2CEF-1BB5-23556C9B6858}"/>
                </a:ext>
              </a:extLst>
            </p:cNvPr>
            <p:cNvSpPr/>
            <p:nvPr/>
          </p:nvSpPr>
          <p:spPr bwMode="auto">
            <a:xfrm rot="20378162">
              <a:off x="4753095" y="4485605"/>
              <a:ext cx="411156" cy="515502"/>
            </a:xfrm>
            <a:prstGeom prst="trapezoid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A14D2BED-796A-0A95-28FC-A14FFC298A09}"/>
              </a:ext>
            </a:extLst>
          </p:cNvPr>
          <p:cNvGrpSpPr>
            <a:grpSpLocks noChangeAspect="1"/>
          </p:cNvGrpSpPr>
          <p:nvPr/>
        </p:nvGrpSpPr>
        <p:grpSpPr>
          <a:xfrm>
            <a:off x="9802467" y="2203356"/>
            <a:ext cx="737537" cy="392596"/>
            <a:chOff x="1160260" y="837506"/>
            <a:chExt cx="3691679" cy="1965105"/>
          </a:xfrm>
          <a:solidFill>
            <a:srgbClr val="007AC2"/>
          </a:solidFill>
        </p:grpSpPr>
        <p:sp>
          <p:nvSpPr>
            <p:cNvPr id="113" name="Circle: Hollow 112">
              <a:extLst>
                <a:ext uri="{FF2B5EF4-FFF2-40B4-BE49-F238E27FC236}">
                  <a16:creationId xmlns:a16="http://schemas.microsoft.com/office/drawing/2014/main" id="{C3267BCC-6B91-39BC-F532-8C3FDF840AF0}"/>
                </a:ext>
              </a:extLst>
            </p:cNvPr>
            <p:cNvSpPr/>
            <p:nvPr/>
          </p:nvSpPr>
          <p:spPr bwMode="auto">
            <a:xfrm>
              <a:off x="3950055" y="203411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Circle: Hollow 113">
              <a:extLst>
                <a:ext uri="{FF2B5EF4-FFF2-40B4-BE49-F238E27FC236}">
                  <a16:creationId xmlns:a16="http://schemas.microsoft.com/office/drawing/2014/main" id="{0CE5C404-3F9F-B0C4-689F-ADB65774175B}"/>
                </a:ext>
              </a:extLst>
            </p:cNvPr>
            <p:cNvSpPr/>
            <p:nvPr/>
          </p:nvSpPr>
          <p:spPr bwMode="auto">
            <a:xfrm>
              <a:off x="1626840" y="203411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Block Arc 114">
              <a:extLst>
                <a:ext uri="{FF2B5EF4-FFF2-40B4-BE49-F238E27FC236}">
                  <a16:creationId xmlns:a16="http://schemas.microsoft.com/office/drawing/2014/main" id="{32C634A6-8DE9-192F-03CB-3506CAAF4BD4}"/>
                </a:ext>
              </a:extLst>
            </p:cNvPr>
            <p:cNvSpPr/>
            <p:nvPr/>
          </p:nvSpPr>
          <p:spPr bwMode="auto">
            <a:xfrm>
              <a:off x="1461657" y="1866507"/>
              <a:ext cx="870366" cy="936104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Block Arc 115">
              <a:extLst>
                <a:ext uri="{FF2B5EF4-FFF2-40B4-BE49-F238E27FC236}">
                  <a16:creationId xmlns:a16="http://schemas.microsoft.com/office/drawing/2014/main" id="{D939F1BB-7BD2-7E91-EB62-1728D709CBAE}"/>
                </a:ext>
              </a:extLst>
            </p:cNvPr>
            <p:cNvSpPr/>
            <p:nvPr/>
          </p:nvSpPr>
          <p:spPr bwMode="auto">
            <a:xfrm>
              <a:off x="3784872" y="1866507"/>
              <a:ext cx="870366" cy="936104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Rectangle: Top Corners Rounded 116">
              <a:extLst>
                <a:ext uri="{FF2B5EF4-FFF2-40B4-BE49-F238E27FC236}">
                  <a16:creationId xmlns:a16="http://schemas.microsoft.com/office/drawing/2014/main" id="{77755CDD-730B-BDDB-B6AF-064DD06918A4}"/>
                </a:ext>
              </a:extLst>
            </p:cNvPr>
            <p:cNvSpPr/>
            <p:nvPr/>
          </p:nvSpPr>
          <p:spPr bwMode="auto">
            <a:xfrm rot="10800000">
              <a:off x="1160260" y="2034114"/>
              <a:ext cx="373641" cy="300443"/>
            </a:xfrm>
            <a:prstGeom prst="round2SameRect">
              <a:avLst>
                <a:gd name="adj1" fmla="val 34058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Rectangle: Top Corners Rounded 117">
              <a:extLst>
                <a:ext uri="{FF2B5EF4-FFF2-40B4-BE49-F238E27FC236}">
                  <a16:creationId xmlns:a16="http://schemas.microsoft.com/office/drawing/2014/main" id="{6B4869E5-F027-ED72-E4F2-670CC6F2E3B4}"/>
                </a:ext>
              </a:extLst>
            </p:cNvPr>
            <p:cNvSpPr/>
            <p:nvPr/>
          </p:nvSpPr>
          <p:spPr bwMode="auto">
            <a:xfrm>
              <a:off x="1189933" y="837506"/>
              <a:ext cx="2517971" cy="1127556"/>
            </a:xfrm>
            <a:prstGeom prst="round2SameRect">
              <a:avLst>
                <a:gd name="adj1" fmla="val 6976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1772FD8D-0EFE-9697-1369-2C07E8DA75EC}"/>
                </a:ext>
              </a:extLst>
            </p:cNvPr>
            <p:cNvSpPr/>
            <p:nvPr/>
          </p:nvSpPr>
          <p:spPr bwMode="auto">
            <a:xfrm>
              <a:off x="1193469" y="1823974"/>
              <a:ext cx="432048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340FCE17-74B5-166B-61F8-2525EDB78DE7}"/>
                </a:ext>
              </a:extLst>
            </p:cNvPr>
            <p:cNvSpPr/>
            <p:nvPr/>
          </p:nvSpPr>
          <p:spPr bwMode="auto">
            <a:xfrm>
              <a:off x="2160063" y="1773610"/>
              <a:ext cx="1759398" cy="35080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D5A8DF1D-BBA5-0BA1-73E3-0C794736ACAF}"/>
                </a:ext>
              </a:extLst>
            </p:cNvPr>
            <p:cNvSpPr/>
            <p:nvPr/>
          </p:nvSpPr>
          <p:spPr bwMode="auto">
            <a:xfrm>
              <a:off x="2203880" y="2023844"/>
              <a:ext cx="1625263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Rectangle: Top Corners Rounded 121">
              <a:extLst>
                <a:ext uri="{FF2B5EF4-FFF2-40B4-BE49-F238E27FC236}">
                  <a16:creationId xmlns:a16="http://schemas.microsoft.com/office/drawing/2014/main" id="{1FF29A64-DA9A-1A13-A500-D87BF8B4CFB4}"/>
                </a:ext>
              </a:extLst>
            </p:cNvPr>
            <p:cNvSpPr/>
            <p:nvPr/>
          </p:nvSpPr>
          <p:spPr bwMode="auto">
            <a:xfrm rot="10800000">
              <a:off x="4478298" y="1942981"/>
              <a:ext cx="373641" cy="381306"/>
            </a:xfrm>
            <a:prstGeom prst="round2SameRect">
              <a:avLst>
                <a:gd name="adj1" fmla="val 50000"/>
                <a:gd name="adj2" fmla="val 3496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54439953-1575-6E53-1063-7F25161EA210}"/>
                </a:ext>
              </a:extLst>
            </p:cNvPr>
            <p:cNvSpPr/>
            <p:nvPr/>
          </p:nvSpPr>
          <p:spPr bwMode="auto">
            <a:xfrm>
              <a:off x="3692301" y="1584418"/>
              <a:ext cx="870366" cy="14473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2533A74B-DCFF-3B7E-6A68-494BF4E1D3A5}"/>
                </a:ext>
              </a:extLst>
            </p:cNvPr>
            <p:cNvSpPr/>
            <p:nvPr/>
          </p:nvSpPr>
          <p:spPr bwMode="auto">
            <a:xfrm>
              <a:off x="3791700" y="1710973"/>
              <a:ext cx="770967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Isosceles Triangle 124">
              <a:extLst>
                <a:ext uri="{FF2B5EF4-FFF2-40B4-BE49-F238E27FC236}">
                  <a16:creationId xmlns:a16="http://schemas.microsoft.com/office/drawing/2014/main" id="{416C2F79-3081-3018-13D0-E07206D535D4}"/>
                </a:ext>
              </a:extLst>
            </p:cNvPr>
            <p:cNvSpPr/>
            <p:nvPr/>
          </p:nvSpPr>
          <p:spPr bwMode="auto">
            <a:xfrm>
              <a:off x="4560523" y="1724601"/>
              <a:ext cx="218837" cy="181764"/>
            </a:xfrm>
            <a:prstGeom prst="triangle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EF64A4C1-2DBA-A169-E51D-8F3E12991EE6}"/>
                </a:ext>
              </a:extLst>
            </p:cNvPr>
            <p:cNvSpPr/>
            <p:nvPr/>
          </p:nvSpPr>
          <p:spPr bwMode="auto">
            <a:xfrm rot="5400000" flipV="1">
              <a:off x="4626360" y="1873889"/>
              <a:ext cx="288000" cy="18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Rectangle: Top Corners Rounded 126">
              <a:extLst>
                <a:ext uri="{FF2B5EF4-FFF2-40B4-BE49-F238E27FC236}">
                  <a16:creationId xmlns:a16="http://schemas.microsoft.com/office/drawing/2014/main" id="{81F5E131-6D64-2BC6-0D9C-F72A5E2D2BB9}"/>
                </a:ext>
              </a:extLst>
            </p:cNvPr>
            <p:cNvSpPr/>
            <p:nvPr/>
          </p:nvSpPr>
          <p:spPr bwMode="auto">
            <a:xfrm rot="2632139">
              <a:off x="3672260" y="1183062"/>
              <a:ext cx="1013898" cy="4571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Rectangle: Top Corners Rounded 127">
              <a:extLst>
                <a:ext uri="{FF2B5EF4-FFF2-40B4-BE49-F238E27FC236}">
                  <a16:creationId xmlns:a16="http://schemas.microsoft.com/office/drawing/2014/main" id="{83AD65D4-196E-2165-DBDE-63C930F0D197}"/>
                </a:ext>
              </a:extLst>
            </p:cNvPr>
            <p:cNvSpPr/>
            <p:nvPr/>
          </p:nvSpPr>
          <p:spPr bwMode="auto">
            <a:xfrm>
              <a:off x="3395900" y="837506"/>
              <a:ext cx="529911" cy="300443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Isosceles Triangle 128">
              <a:extLst>
                <a:ext uri="{FF2B5EF4-FFF2-40B4-BE49-F238E27FC236}">
                  <a16:creationId xmlns:a16="http://schemas.microsoft.com/office/drawing/2014/main" id="{ADDF7271-D256-4C67-87EE-3B5C863BE136}"/>
                </a:ext>
              </a:extLst>
            </p:cNvPr>
            <p:cNvSpPr/>
            <p:nvPr/>
          </p:nvSpPr>
          <p:spPr bwMode="auto">
            <a:xfrm>
              <a:off x="3919461" y="973832"/>
              <a:ext cx="187940" cy="162256"/>
            </a:xfrm>
            <a:prstGeom prst="triangle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376CF7EB-3CB7-1D6E-94C9-223598D698C5}"/>
                </a:ext>
              </a:extLst>
            </p:cNvPr>
            <p:cNvSpPr/>
            <p:nvPr/>
          </p:nvSpPr>
          <p:spPr bwMode="auto">
            <a:xfrm>
              <a:off x="4502851" y="1514475"/>
              <a:ext cx="281874" cy="238125"/>
            </a:xfrm>
            <a:custGeom>
              <a:avLst/>
              <a:gdLst>
                <a:gd name="connsiteX0" fmla="*/ 0 w 238125"/>
                <a:gd name="connsiteY0" fmla="*/ 0 h 209550"/>
                <a:gd name="connsiteX1" fmla="*/ 193675 w 238125"/>
                <a:gd name="connsiteY1" fmla="*/ 1365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0 w 238125"/>
                <a:gd name="connsiteY0" fmla="*/ 0 h 209550"/>
                <a:gd name="connsiteX1" fmla="*/ 168275 w 238125"/>
                <a:gd name="connsiteY1" fmla="*/ 1238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0 w 238125"/>
                <a:gd name="connsiteY0" fmla="*/ 0 h 209550"/>
                <a:gd name="connsiteX1" fmla="*/ 168275 w 238125"/>
                <a:gd name="connsiteY1" fmla="*/ 1238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23709 w 234982"/>
                <a:gd name="connsiteY0" fmla="*/ 0 h 215900"/>
                <a:gd name="connsiteX1" fmla="*/ 165132 w 234982"/>
                <a:gd name="connsiteY1" fmla="*/ 130175 h 215900"/>
                <a:gd name="connsiteX2" fmla="*/ 234982 w 234982"/>
                <a:gd name="connsiteY2" fmla="*/ 215900 h 215900"/>
                <a:gd name="connsiteX3" fmla="*/ 32 w 234982"/>
                <a:gd name="connsiteY3" fmla="*/ 142875 h 215900"/>
                <a:gd name="connsiteX4" fmla="*/ 23709 w 234982"/>
                <a:gd name="connsiteY4" fmla="*/ 0 h 215900"/>
                <a:gd name="connsiteX0" fmla="*/ 24434 w 235707"/>
                <a:gd name="connsiteY0" fmla="*/ 0 h 215900"/>
                <a:gd name="connsiteX1" fmla="*/ 165857 w 235707"/>
                <a:gd name="connsiteY1" fmla="*/ 130175 h 215900"/>
                <a:gd name="connsiteX2" fmla="*/ 235707 w 235707"/>
                <a:gd name="connsiteY2" fmla="*/ 215900 h 215900"/>
                <a:gd name="connsiteX3" fmla="*/ 757 w 235707"/>
                <a:gd name="connsiteY3" fmla="*/ 142875 h 215900"/>
                <a:gd name="connsiteX4" fmla="*/ 24434 w 235707"/>
                <a:gd name="connsiteY4" fmla="*/ 0 h 215900"/>
                <a:gd name="connsiteX0" fmla="*/ 24434 w 227651"/>
                <a:gd name="connsiteY0" fmla="*/ 0 h 215900"/>
                <a:gd name="connsiteX1" fmla="*/ 165857 w 227651"/>
                <a:gd name="connsiteY1" fmla="*/ 130175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27651"/>
                <a:gd name="connsiteY0" fmla="*/ 0 h 215900"/>
                <a:gd name="connsiteX1" fmla="*/ 184155 w 227651"/>
                <a:gd name="connsiteY1" fmla="*/ 127000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27651"/>
                <a:gd name="connsiteY0" fmla="*/ 0 h 215900"/>
                <a:gd name="connsiteX1" fmla="*/ 184155 w 227651"/>
                <a:gd name="connsiteY1" fmla="*/ 127000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32067"/>
                <a:gd name="connsiteY0" fmla="*/ 0 h 238125"/>
                <a:gd name="connsiteX1" fmla="*/ 184155 w 232067"/>
                <a:gd name="connsiteY1" fmla="*/ 127000 h 238125"/>
                <a:gd name="connsiteX2" fmla="*/ 232067 w 232067"/>
                <a:gd name="connsiteY2" fmla="*/ 238125 h 238125"/>
                <a:gd name="connsiteX3" fmla="*/ 757 w 232067"/>
                <a:gd name="connsiteY3" fmla="*/ 142875 h 238125"/>
                <a:gd name="connsiteX4" fmla="*/ 24434 w 232067"/>
                <a:gd name="connsiteY4" fmla="*/ 0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067" h="238125">
                  <a:moveTo>
                    <a:pt x="24434" y="0"/>
                  </a:moveTo>
                  <a:lnTo>
                    <a:pt x="184155" y="127000"/>
                  </a:lnTo>
                  <a:cubicBezTo>
                    <a:pt x="218085" y="174625"/>
                    <a:pt x="208784" y="209550"/>
                    <a:pt x="232067" y="238125"/>
                  </a:cubicBezTo>
                  <a:lnTo>
                    <a:pt x="757" y="142875"/>
                  </a:lnTo>
                  <a:cubicBezTo>
                    <a:pt x="-301" y="97367"/>
                    <a:pt x="-4046" y="20108"/>
                    <a:pt x="24434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C0310E80-70EF-B9EC-7006-CFF1F06856F0}"/>
                </a:ext>
              </a:extLst>
            </p:cNvPr>
            <p:cNvSpPr/>
            <p:nvPr/>
          </p:nvSpPr>
          <p:spPr bwMode="auto">
            <a:xfrm>
              <a:off x="4475620" y="1907021"/>
              <a:ext cx="291614" cy="9224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19379379-2027-0828-F77B-93F510F9A327}"/>
                </a:ext>
              </a:extLst>
            </p:cNvPr>
            <p:cNvSpPr/>
            <p:nvPr/>
          </p:nvSpPr>
          <p:spPr bwMode="auto">
            <a:xfrm>
              <a:off x="3660855" y="1753506"/>
              <a:ext cx="291614" cy="9224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41D05F9E-DBF1-556F-ABCB-847B5590CEB3}"/>
              </a:ext>
            </a:extLst>
          </p:cNvPr>
          <p:cNvGrpSpPr>
            <a:grpSpLocks noChangeAspect="1"/>
          </p:cNvGrpSpPr>
          <p:nvPr/>
        </p:nvGrpSpPr>
        <p:grpSpPr>
          <a:xfrm>
            <a:off x="9480209" y="1603831"/>
            <a:ext cx="1079222" cy="410293"/>
            <a:chOff x="5423595" y="2445991"/>
            <a:chExt cx="4827311" cy="1835222"/>
          </a:xfrm>
          <a:solidFill>
            <a:srgbClr val="007AC2"/>
          </a:solidFill>
        </p:grpSpPr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87941684-6449-01FA-E7A4-58E7F25F374A}"/>
                </a:ext>
              </a:extLst>
            </p:cNvPr>
            <p:cNvSpPr/>
            <p:nvPr/>
          </p:nvSpPr>
          <p:spPr bwMode="auto">
            <a:xfrm>
              <a:off x="5667763" y="3215290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9163CFD7-9340-4188-216F-A4683F074B43}"/>
                </a:ext>
              </a:extLst>
            </p:cNvPr>
            <p:cNvSpPr/>
            <p:nvPr/>
          </p:nvSpPr>
          <p:spPr bwMode="auto">
            <a:xfrm>
              <a:off x="5671881" y="3078026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4B1E6729-21BF-2919-AE44-4411E260A06D}"/>
                </a:ext>
              </a:extLst>
            </p:cNvPr>
            <p:cNvSpPr/>
            <p:nvPr/>
          </p:nvSpPr>
          <p:spPr bwMode="auto">
            <a:xfrm>
              <a:off x="5667763" y="2940762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BD6CCC71-323E-BECD-B84A-5134EC2F53AC}"/>
                </a:ext>
              </a:extLst>
            </p:cNvPr>
            <p:cNvSpPr/>
            <p:nvPr/>
          </p:nvSpPr>
          <p:spPr bwMode="auto">
            <a:xfrm>
              <a:off x="5667763" y="3352554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16BCF402-C1AF-3B1A-156D-30B02C46879B}"/>
                </a:ext>
              </a:extLst>
            </p:cNvPr>
            <p:cNvSpPr/>
            <p:nvPr/>
          </p:nvSpPr>
          <p:spPr bwMode="auto">
            <a:xfrm>
              <a:off x="5667763" y="2803498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73E7B51E-1EDB-0D34-021A-D33948DD08FC}"/>
                </a:ext>
              </a:extLst>
            </p:cNvPr>
            <p:cNvSpPr/>
            <p:nvPr/>
          </p:nvSpPr>
          <p:spPr bwMode="auto">
            <a:xfrm rot="5400000" flipV="1">
              <a:off x="6189751" y="3132768"/>
              <a:ext cx="599027" cy="4571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E2A32390-9AAD-14BB-32A9-B59D6D8F1A89}"/>
                </a:ext>
              </a:extLst>
            </p:cNvPr>
            <p:cNvSpPr/>
            <p:nvPr/>
          </p:nvSpPr>
          <p:spPr bwMode="auto">
            <a:xfrm rot="5400000" flipV="1">
              <a:off x="5541679" y="3132768"/>
              <a:ext cx="599027" cy="4571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5F227990-B2BF-BE4F-456C-BD0B3DCE6DEF}"/>
                </a:ext>
              </a:extLst>
            </p:cNvPr>
            <p:cNvSpPr/>
            <p:nvPr/>
          </p:nvSpPr>
          <p:spPr bwMode="auto">
            <a:xfrm>
              <a:off x="6752963" y="3218256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02B43ABE-2506-63C7-9872-E864993C6AB1}"/>
                </a:ext>
              </a:extLst>
            </p:cNvPr>
            <p:cNvSpPr/>
            <p:nvPr/>
          </p:nvSpPr>
          <p:spPr bwMode="auto">
            <a:xfrm>
              <a:off x="6757081" y="3080992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3E2EA04A-48DF-9DDB-B238-288D79CFD5E5}"/>
                </a:ext>
              </a:extLst>
            </p:cNvPr>
            <p:cNvSpPr/>
            <p:nvPr/>
          </p:nvSpPr>
          <p:spPr bwMode="auto">
            <a:xfrm>
              <a:off x="6752963" y="2943728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977188C6-87D9-4C71-DB57-1109107992AD}"/>
                </a:ext>
              </a:extLst>
            </p:cNvPr>
            <p:cNvSpPr/>
            <p:nvPr/>
          </p:nvSpPr>
          <p:spPr bwMode="auto">
            <a:xfrm>
              <a:off x="6752963" y="3355520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D61570A8-9CA9-2115-D89A-2B4013478F67}"/>
                </a:ext>
              </a:extLst>
            </p:cNvPr>
            <p:cNvSpPr/>
            <p:nvPr/>
          </p:nvSpPr>
          <p:spPr bwMode="auto">
            <a:xfrm>
              <a:off x="6752963" y="2806464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7F37663A-ADC8-7F31-CB65-2AA81FC39E1A}"/>
                </a:ext>
              </a:extLst>
            </p:cNvPr>
            <p:cNvSpPr/>
            <p:nvPr/>
          </p:nvSpPr>
          <p:spPr bwMode="auto">
            <a:xfrm rot="5400000" flipV="1">
              <a:off x="7274951" y="3135734"/>
              <a:ext cx="599027" cy="4571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743A8E0F-782C-F0D0-5901-768FCD863280}"/>
                </a:ext>
              </a:extLst>
            </p:cNvPr>
            <p:cNvSpPr/>
            <p:nvPr/>
          </p:nvSpPr>
          <p:spPr bwMode="auto">
            <a:xfrm rot="5400000" flipV="1">
              <a:off x="6626879" y="3135734"/>
              <a:ext cx="599027" cy="4571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834391DD-31F3-6541-6778-87419B7A037B}"/>
                </a:ext>
              </a:extLst>
            </p:cNvPr>
            <p:cNvSpPr/>
            <p:nvPr/>
          </p:nvSpPr>
          <p:spPr bwMode="auto">
            <a:xfrm>
              <a:off x="7885566" y="3218256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82F68929-4613-65D7-40ED-63B0922F4248}"/>
                </a:ext>
              </a:extLst>
            </p:cNvPr>
            <p:cNvSpPr/>
            <p:nvPr/>
          </p:nvSpPr>
          <p:spPr bwMode="auto">
            <a:xfrm>
              <a:off x="7889684" y="3080992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DBF8312B-1B22-BE32-9DB4-E9CB9E29F0A3}"/>
                </a:ext>
              </a:extLst>
            </p:cNvPr>
            <p:cNvSpPr/>
            <p:nvPr/>
          </p:nvSpPr>
          <p:spPr bwMode="auto">
            <a:xfrm>
              <a:off x="7885566" y="2943728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38765B62-9254-8D20-6EE7-2324226E4509}"/>
                </a:ext>
              </a:extLst>
            </p:cNvPr>
            <p:cNvSpPr/>
            <p:nvPr/>
          </p:nvSpPr>
          <p:spPr bwMode="auto">
            <a:xfrm>
              <a:off x="7885566" y="3355520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A615CBE3-13DD-3A07-EC43-CAC9A7326026}"/>
                </a:ext>
              </a:extLst>
            </p:cNvPr>
            <p:cNvSpPr/>
            <p:nvPr/>
          </p:nvSpPr>
          <p:spPr bwMode="auto">
            <a:xfrm>
              <a:off x="7885566" y="2806464"/>
              <a:ext cx="1008000" cy="8535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21D66C3E-A3F4-5653-160C-4F6236F3AAE9}"/>
                </a:ext>
              </a:extLst>
            </p:cNvPr>
            <p:cNvSpPr/>
            <p:nvPr/>
          </p:nvSpPr>
          <p:spPr bwMode="auto">
            <a:xfrm rot="5400000" flipV="1">
              <a:off x="8407554" y="3135734"/>
              <a:ext cx="599027" cy="4571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587A1644-8485-6D74-DD64-AB792D90D723}"/>
                </a:ext>
              </a:extLst>
            </p:cNvPr>
            <p:cNvSpPr/>
            <p:nvPr/>
          </p:nvSpPr>
          <p:spPr bwMode="auto">
            <a:xfrm rot="5400000" flipV="1">
              <a:off x="7759482" y="3135734"/>
              <a:ext cx="599027" cy="4571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BA7FD802-331B-48A0-02D7-5C92A83F831B}"/>
                </a:ext>
              </a:extLst>
            </p:cNvPr>
            <p:cNvSpPr/>
            <p:nvPr/>
          </p:nvSpPr>
          <p:spPr bwMode="auto">
            <a:xfrm>
              <a:off x="5472476" y="3488262"/>
              <a:ext cx="3652188" cy="13066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Trapezoid 155">
              <a:extLst>
                <a:ext uri="{FF2B5EF4-FFF2-40B4-BE49-F238E27FC236}">
                  <a16:creationId xmlns:a16="http://schemas.microsoft.com/office/drawing/2014/main" id="{90558EFB-8DA7-41CC-5D81-13F1302CF5D3}"/>
                </a:ext>
              </a:extLst>
            </p:cNvPr>
            <p:cNvSpPr/>
            <p:nvPr/>
          </p:nvSpPr>
          <p:spPr bwMode="auto">
            <a:xfrm rot="10800000">
              <a:off x="7082711" y="3641768"/>
              <a:ext cx="1329326" cy="288730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L-Shape 156">
              <a:extLst>
                <a:ext uri="{FF2B5EF4-FFF2-40B4-BE49-F238E27FC236}">
                  <a16:creationId xmlns:a16="http://schemas.microsoft.com/office/drawing/2014/main" id="{12EC1CDE-D0A7-C19B-3639-84681BCE69FA}"/>
                </a:ext>
              </a:extLst>
            </p:cNvPr>
            <p:cNvSpPr/>
            <p:nvPr/>
          </p:nvSpPr>
          <p:spPr bwMode="auto">
            <a:xfrm flipH="1">
              <a:off x="5423595" y="3488262"/>
              <a:ext cx="45719" cy="400211"/>
            </a:xfrm>
            <a:prstGeom prst="corner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13679A07-FA84-6E8C-E3B3-1DA530B12748}"/>
                </a:ext>
              </a:extLst>
            </p:cNvPr>
            <p:cNvSpPr/>
            <p:nvPr/>
          </p:nvSpPr>
          <p:spPr bwMode="auto">
            <a:xfrm>
              <a:off x="9169181" y="2602233"/>
              <a:ext cx="526597" cy="59902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Trapezoid 37">
              <a:extLst>
                <a:ext uri="{FF2B5EF4-FFF2-40B4-BE49-F238E27FC236}">
                  <a16:creationId xmlns:a16="http://schemas.microsoft.com/office/drawing/2014/main" id="{68895195-6E54-A84F-3CE1-DAD0E5845F00}"/>
                </a:ext>
              </a:extLst>
            </p:cNvPr>
            <p:cNvSpPr/>
            <p:nvPr/>
          </p:nvSpPr>
          <p:spPr bwMode="auto">
            <a:xfrm>
              <a:off x="9169181" y="2445991"/>
              <a:ext cx="877775" cy="125537"/>
            </a:xfrm>
            <a:custGeom>
              <a:avLst/>
              <a:gdLst>
                <a:gd name="connsiteX0" fmla="*/ 0 w 853278"/>
                <a:gd name="connsiteY0" fmla="*/ 148501 h 148501"/>
                <a:gd name="connsiteX1" fmla="*/ 37125 w 853278"/>
                <a:gd name="connsiteY1" fmla="*/ 0 h 148501"/>
                <a:gd name="connsiteX2" fmla="*/ 81615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8595 w 861873"/>
                <a:gd name="connsiteY0" fmla="*/ 148501 h 148501"/>
                <a:gd name="connsiteX1" fmla="*/ 0 w 861873"/>
                <a:gd name="connsiteY1" fmla="*/ 15240 h 148501"/>
                <a:gd name="connsiteX2" fmla="*/ 824748 w 861873"/>
                <a:gd name="connsiteY2" fmla="*/ 0 h 148501"/>
                <a:gd name="connsiteX3" fmla="*/ 861873 w 861873"/>
                <a:gd name="connsiteY3" fmla="*/ 148501 h 148501"/>
                <a:gd name="connsiteX4" fmla="*/ 8595 w 861873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81615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488493 w 853278"/>
                <a:gd name="connsiteY2" fmla="*/ 762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46563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278" h="148501">
                  <a:moveTo>
                    <a:pt x="0" y="148501"/>
                  </a:moveTo>
                  <a:lnTo>
                    <a:pt x="14265" y="0"/>
                  </a:lnTo>
                  <a:lnTo>
                    <a:pt x="465633" y="0"/>
                  </a:lnTo>
                  <a:lnTo>
                    <a:pt x="853278" y="148501"/>
                  </a:lnTo>
                  <a:lnTo>
                    <a:pt x="0" y="148501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F950116-31BC-7EDF-8443-ECC4BA7A6A4C}"/>
                </a:ext>
              </a:extLst>
            </p:cNvPr>
            <p:cNvSpPr/>
            <p:nvPr/>
          </p:nvSpPr>
          <p:spPr bwMode="auto">
            <a:xfrm>
              <a:off x="10018658" y="3942540"/>
              <a:ext cx="232248" cy="4572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8C7BB41D-6E76-D106-A360-C09EDB789753}"/>
                </a:ext>
              </a:extLst>
            </p:cNvPr>
            <p:cNvSpPr/>
            <p:nvPr/>
          </p:nvSpPr>
          <p:spPr bwMode="auto">
            <a:xfrm>
              <a:off x="9947235" y="3193252"/>
              <a:ext cx="288000" cy="608625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67D28377-270D-CD5E-9E71-CE107B22B141}"/>
                </a:ext>
              </a:extLst>
            </p:cNvPr>
            <p:cNvSpPr/>
            <p:nvPr/>
          </p:nvSpPr>
          <p:spPr bwMode="auto">
            <a:xfrm>
              <a:off x="10202634" y="3200870"/>
              <a:ext cx="45719" cy="778581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64AC1114-C6CE-AA3B-7BC5-B5020A16F61A}"/>
                </a:ext>
              </a:extLst>
            </p:cNvPr>
            <p:cNvSpPr/>
            <p:nvPr/>
          </p:nvSpPr>
          <p:spPr bwMode="auto">
            <a:xfrm>
              <a:off x="10022815" y="3849349"/>
              <a:ext cx="213853" cy="45719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00922606-8F9D-391C-FED1-805856A2FBED}"/>
                </a:ext>
              </a:extLst>
            </p:cNvPr>
            <p:cNvSpPr/>
            <p:nvPr/>
          </p:nvSpPr>
          <p:spPr bwMode="auto">
            <a:xfrm>
              <a:off x="9695197" y="2601843"/>
              <a:ext cx="43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CEDBB5BC-4727-DBEE-B257-4B9D8F83FEE9}"/>
                </a:ext>
              </a:extLst>
            </p:cNvPr>
            <p:cNvSpPr/>
            <p:nvPr/>
          </p:nvSpPr>
          <p:spPr bwMode="auto">
            <a:xfrm rot="4797776">
              <a:off x="9871917" y="2892602"/>
              <a:ext cx="61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94DA9D66-4395-5652-E437-1547B2B7F75E}"/>
                </a:ext>
              </a:extLst>
            </p:cNvPr>
            <p:cNvSpPr/>
            <p:nvPr/>
          </p:nvSpPr>
          <p:spPr bwMode="auto">
            <a:xfrm>
              <a:off x="10018658" y="3190903"/>
              <a:ext cx="45719" cy="778581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Block Arc 166">
              <a:extLst>
                <a:ext uri="{FF2B5EF4-FFF2-40B4-BE49-F238E27FC236}">
                  <a16:creationId xmlns:a16="http://schemas.microsoft.com/office/drawing/2014/main" id="{550E5FE1-893F-53DC-FB7D-44D398C8381D}"/>
                </a:ext>
              </a:extLst>
            </p:cNvPr>
            <p:cNvSpPr/>
            <p:nvPr/>
          </p:nvSpPr>
          <p:spPr bwMode="auto">
            <a:xfrm>
              <a:off x="9387743" y="3653797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819254FC-028F-3113-6665-FB7E0C356028}"/>
                </a:ext>
              </a:extLst>
            </p:cNvPr>
            <p:cNvSpPr/>
            <p:nvPr/>
          </p:nvSpPr>
          <p:spPr bwMode="auto">
            <a:xfrm>
              <a:off x="9172343" y="3194358"/>
              <a:ext cx="778274" cy="50560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Trapezoid 168">
              <a:extLst>
                <a:ext uri="{FF2B5EF4-FFF2-40B4-BE49-F238E27FC236}">
                  <a16:creationId xmlns:a16="http://schemas.microsoft.com/office/drawing/2014/main" id="{20074133-F171-6FE7-C50C-56E8D7EBE3C8}"/>
                </a:ext>
              </a:extLst>
            </p:cNvPr>
            <p:cNvSpPr/>
            <p:nvPr/>
          </p:nvSpPr>
          <p:spPr bwMode="auto">
            <a:xfrm rot="10800000">
              <a:off x="9332342" y="3633045"/>
              <a:ext cx="168825" cy="11741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Circle: Hollow 169">
              <a:extLst>
                <a:ext uri="{FF2B5EF4-FFF2-40B4-BE49-F238E27FC236}">
                  <a16:creationId xmlns:a16="http://schemas.microsoft.com/office/drawing/2014/main" id="{97950202-49E6-C389-924B-99896263F84B}"/>
                </a:ext>
              </a:extLst>
            </p:cNvPr>
            <p:cNvSpPr/>
            <p:nvPr/>
          </p:nvSpPr>
          <p:spPr bwMode="auto">
            <a:xfrm>
              <a:off x="9450957" y="3741213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EE8F6118-0636-B821-5FE1-20C7F69EC816}"/>
                </a:ext>
              </a:extLst>
            </p:cNvPr>
            <p:cNvSpPr/>
            <p:nvPr/>
          </p:nvSpPr>
          <p:spPr bwMode="auto">
            <a:xfrm>
              <a:off x="9666957" y="3957213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lowchart: Delay 171">
              <a:extLst>
                <a:ext uri="{FF2B5EF4-FFF2-40B4-BE49-F238E27FC236}">
                  <a16:creationId xmlns:a16="http://schemas.microsoft.com/office/drawing/2014/main" id="{9F4F629E-5FE7-B2BE-0A46-C6D4634CAB0A}"/>
                </a:ext>
              </a:extLst>
            </p:cNvPr>
            <p:cNvSpPr/>
            <p:nvPr/>
          </p:nvSpPr>
          <p:spPr bwMode="auto">
            <a:xfrm>
              <a:off x="8842498" y="3642758"/>
              <a:ext cx="198999" cy="357772"/>
            </a:xfrm>
            <a:prstGeom prst="flowChartDelay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lowchart: Delay 172">
              <a:extLst>
                <a:ext uri="{FF2B5EF4-FFF2-40B4-BE49-F238E27FC236}">
                  <a16:creationId xmlns:a16="http://schemas.microsoft.com/office/drawing/2014/main" id="{25F55563-B7C1-C3CE-25F6-9CA62C6482D4}"/>
                </a:ext>
              </a:extLst>
            </p:cNvPr>
            <p:cNvSpPr/>
            <p:nvPr/>
          </p:nvSpPr>
          <p:spPr bwMode="auto">
            <a:xfrm rot="10800000">
              <a:off x="8300102" y="3644594"/>
              <a:ext cx="215079" cy="360222"/>
            </a:xfrm>
            <a:prstGeom prst="flowChartDelay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CA33CDD4-1714-A997-8E21-7643C3D897E6}"/>
                </a:ext>
              </a:extLst>
            </p:cNvPr>
            <p:cNvSpPr/>
            <p:nvPr/>
          </p:nvSpPr>
          <p:spPr bwMode="auto">
            <a:xfrm>
              <a:off x="8542883" y="3642758"/>
              <a:ext cx="265591" cy="36022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Rectangle 174">
              <a:extLst>
                <a:ext uri="{FF2B5EF4-FFF2-40B4-BE49-F238E27FC236}">
                  <a16:creationId xmlns:a16="http://schemas.microsoft.com/office/drawing/2014/main" id="{8EFF134D-BC3F-8543-3339-7FF4BE480CF4}"/>
                </a:ext>
              </a:extLst>
            </p:cNvPr>
            <p:cNvSpPr/>
            <p:nvPr/>
          </p:nvSpPr>
          <p:spPr bwMode="auto">
            <a:xfrm>
              <a:off x="9000761" y="3696001"/>
              <a:ext cx="427718" cy="2345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Block Arc 175">
              <a:extLst>
                <a:ext uri="{FF2B5EF4-FFF2-40B4-BE49-F238E27FC236}">
                  <a16:creationId xmlns:a16="http://schemas.microsoft.com/office/drawing/2014/main" id="{B617FB73-95F2-05B0-E898-6056F94D9DD9}"/>
                </a:ext>
              </a:extLst>
            </p:cNvPr>
            <p:cNvSpPr/>
            <p:nvPr/>
          </p:nvSpPr>
          <p:spPr bwMode="auto">
            <a:xfrm>
              <a:off x="5553166" y="3649393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Block Arc 176">
              <a:extLst>
                <a:ext uri="{FF2B5EF4-FFF2-40B4-BE49-F238E27FC236}">
                  <a16:creationId xmlns:a16="http://schemas.microsoft.com/office/drawing/2014/main" id="{F72AC12B-0D3E-C5BE-D84A-E8DFCABFC42B}"/>
                </a:ext>
              </a:extLst>
            </p:cNvPr>
            <p:cNvSpPr/>
            <p:nvPr/>
          </p:nvSpPr>
          <p:spPr bwMode="auto">
            <a:xfrm>
              <a:off x="6130003" y="3641768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Circle: Hollow 177">
              <a:extLst>
                <a:ext uri="{FF2B5EF4-FFF2-40B4-BE49-F238E27FC236}">
                  <a16:creationId xmlns:a16="http://schemas.microsoft.com/office/drawing/2014/main" id="{06237A1E-FD07-BCFB-94B3-74F8F1728868}"/>
                </a:ext>
              </a:extLst>
            </p:cNvPr>
            <p:cNvSpPr/>
            <p:nvPr/>
          </p:nvSpPr>
          <p:spPr bwMode="auto">
            <a:xfrm>
              <a:off x="5607571" y="3737165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EC1E732D-9FF5-9B20-D6F3-370255CAAAF7}"/>
                </a:ext>
              </a:extLst>
            </p:cNvPr>
            <p:cNvSpPr/>
            <p:nvPr/>
          </p:nvSpPr>
          <p:spPr bwMode="auto">
            <a:xfrm>
              <a:off x="5823571" y="3953165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Circle: Hollow 179">
              <a:extLst>
                <a:ext uri="{FF2B5EF4-FFF2-40B4-BE49-F238E27FC236}">
                  <a16:creationId xmlns:a16="http://schemas.microsoft.com/office/drawing/2014/main" id="{68E0D669-2065-F065-A19C-E410B8F8369C}"/>
                </a:ext>
              </a:extLst>
            </p:cNvPr>
            <p:cNvSpPr/>
            <p:nvPr/>
          </p:nvSpPr>
          <p:spPr bwMode="auto">
            <a:xfrm>
              <a:off x="6181692" y="3729540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AA1B58AE-DD58-982F-E065-24E8792AD467}"/>
                </a:ext>
              </a:extLst>
            </p:cNvPr>
            <p:cNvSpPr/>
            <p:nvPr/>
          </p:nvSpPr>
          <p:spPr bwMode="auto">
            <a:xfrm>
              <a:off x="6397692" y="3945540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Trapezoid 181">
              <a:extLst>
                <a:ext uri="{FF2B5EF4-FFF2-40B4-BE49-F238E27FC236}">
                  <a16:creationId xmlns:a16="http://schemas.microsoft.com/office/drawing/2014/main" id="{EFCB0E10-6732-52AF-2D27-DB7E90373C94}"/>
                </a:ext>
              </a:extLst>
            </p:cNvPr>
            <p:cNvSpPr/>
            <p:nvPr/>
          </p:nvSpPr>
          <p:spPr bwMode="auto">
            <a:xfrm rot="10800000">
              <a:off x="5517044" y="3612049"/>
              <a:ext cx="1329326" cy="11464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Trapezoid 182">
              <a:extLst>
                <a:ext uri="{FF2B5EF4-FFF2-40B4-BE49-F238E27FC236}">
                  <a16:creationId xmlns:a16="http://schemas.microsoft.com/office/drawing/2014/main" id="{F3055947-6C3F-9D73-AFD4-15D7118F48CF}"/>
                </a:ext>
              </a:extLst>
            </p:cNvPr>
            <p:cNvSpPr/>
            <p:nvPr/>
          </p:nvSpPr>
          <p:spPr bwMode="auto">
            <a:xfrm rot="10800000">
              <a:off x="5446501" y="3642406"/>
              <a:ext cx="160450" cy="168575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DEB7EB5C-8A35-8895-761E-81E63D74A602}"/>
              </a:ext>
            </a:extLst>
          </p:cNvPr>
          <p:cNvGrpSpPr>
            <a:grpSpLocks noChangeAspect="1"/>
          </p:cNvGrpSpPr>
          <p:nvPr/>
        </p:nvGrpSpPr>
        <p:grpSpPr>
          <a:xfrm>
            <a:off x="9756829" y="4947203"/>
            <a:ext cx="737537" cy="392596"/>
            <a:chOff x="1160260" y="837506"/>
            <a:chExt cx="3691679" cy="1965105"/>
          </a:xfrm>
          <a:solidFill>
            <a:srgbClr val="007AC2"/>
          </a:solidFill>
        </p:grpSpPr>
        <p:sp>
          <p:nvSpPr>
            <p:cNvPr id="185" name="Circle: Hollow 184">
              <a:extLst>
                <a:ext uri="{FF2B5EF4-FFF2-40B4-BE49-F238E27FC236}">
                  <a16:creationId xmlns:a16="http://schemas.microsoft.com/office/drawing/2014/main" id="{7BDDAD93-6257-F140-A442-C67A148EB875}"/>
                </a:ext>
              </a:extLst>
            </p:cNvPr>
            <p:cNvSpPr/>
            <p:nvPr/>
          </p:nvSpPr>
          <p:spPr bwMode="auto">
            <a:xfrm>
              <a:off x="3950055" y="203411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Circle: Hollow 185">
              <a:extLst>
                <a:ext uri="{FF2B5EF4-FFF2-40B4-BE49-F238E27FC236}">
                  <a16:creationId xmlns:a16="http://schemas.microsoft.com/office/drawing/2014/main" id="{0581D65C-A41C-DC52-F476-0A547E8936AC}"/>
                </a:ext>
              </a:extLst>
            </p:cNvPr>
            <p:cNvSpPr/>
            <p:nvPr/>
          </p:nvSpPr>
          <p:spPr bwMode="auto">
            <a:xfrm>
              <a:off x="1626840" y="203411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Block Arc 186">
              <a:extLst>
                <a:ext uri="{FF2B5EF4-FFF2-40B4-BE49-F238E27FC236}">
                  <a16:creationId xmlns:a16="http://schemas.microsoft.com/office/drawing/2014/main" id="{B348C954-B85E-6C18-C5AE-2294A79D1E71}"/>
                </a:ext>
              </a:extLst>
            </p:cNvPr>
            <p:cNvSpPr/>
            <p:nvPr/>
          </p:nvSpPr>
          <p:spPr bwMode="auto">
            <a:xfrm>
              <a:off x="1461657" y="1866507"/>
              <a:ext cx="870366" cy="936104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Block Arc 187">
              <a:extLst>
                <a:ext uri="{FF2B5EF4-FFF2-40B4-BE49-F238E27FC236}">
                  <a16:creationId xmlns:a16="http://schemas.microsoft.com/office/drawing/2014/main" id="{D65FE7F6-C3AD-30B9-C571-CD2789AC5AFA}"/>
                </a:ext>
              </a:extLst>
            </p:cNvPr>
            <p:cNvSpPr/>
            <p:nvPr/>
          </p:nvSpPr>
          <p:spPr bwMode="auto">
            <a:xfrm>
              <a:off x="3784872" y="1866507"/>
              <a:ext cx="870366" cy="936104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9" name="Rectangle: Top Corners Rounded 188">
              <a:extLst>
                <a:ext uri="{FF2B5EF4-FFF2-40B4-BE49-F238E27FC236}">
                  <a16:creationId xmlns:a16="http://schemas.microsoft.com/office/drawing/2014/main" id="{496DFA87-D4C9-F487-B459-1217DC324D75}"/>
                </a:ext>
              </a:extLst>
            </p:cNvPr>
            <p:cNvSpPr/>
            <p:nvPr/>
          </p:nvSpPr>
          <p:spPr bwMode="auto">
            <a:xfrm rot="10800000">
              <a:off x="1160260" y="2034114"/>
              <a:ext cx="373641" cy="300443"/>
            </a:xfrm>
            <a:prstGeom prst="round2SameRect">
              <a:avLst>
                <a:gd name="adj1" fmla="val 34058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Rectangle: Top Corners Rounded 189">
              <a:extLst>
                <a:ext uri="{FF2B5EF4-FFF2-40B4-BE49-F238E27FC236}">
                  <a16:creationId xmlns:a16="http://schemas.microsoft.com/office/drawing/2014/main" id="{61483EEA-D3E0-465D-BE7F-E88BBDBDEE97}"/>
                </a:ext>
              </a:extLst>
            </p:cNvPr>
            <p:cNvSpPr/>
            <p:nvPr/>
          </p:nvSpPr>
          <p:spPr bwMode="auto">
            <a:xfrm>
              <a:off x="1189933" y="837506"/>
              <a:ext cx="2517971" cy="1127556"/>
            </a:xfrm>
            <a:prstGeom prst="round2SameRect">
              <a:avLst>
                <a:gd name="adj1" fmla="val 6976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8CBFD34-4068-E01B-EDEE-E793DDBBFA89}"/>
                </a:ext>
              </a:extLst>
            </p:cNvPr>
            <p:cNvSpPr/>
            <p:nvPr/>
          </p:nvSpPr>
          <p:spPr bwMode="auto">
            <a:xfrm>
              <a:off x="1193469" y="1823974"/>
              <a:ext cx="432048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A6B8E82C-CD94-6A7C-580C-535F95042525}"/>
                </a:ext>
              </a:extLst>
            </p:cNvPr>
            <p:cNvSpPr/>
            <p:nvPr/>
          </p:nvSpPr>
          <p:spPr bwMode="auto">
            <a:xfrm>
              <a:off x="2160063" y="1773610"/>
              <a:ext cx="1759398" cy="35080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19AFF113-1017-3447-7B59-3AC7A8BB999F}"/>
                </a:ext>
              </a:extLst>
            </p:cNvPr>
            <p:cNvSpPr/>
            <p:nvPr/>
          </p:nvSpPr>
          <p:spPr bwMode="auto">
            <a:xfrm>
              <a:off x="2203880" y="2023844"/>
              <a:ext cx="1625263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Rectangle: Top Corners Rounded 193">
              <a:extLst>
                <a:ext uri="{FF2B5EF4-FFF2-40B4-BE49-F238E27FC236}">
                  <a16:creationId xmlns:a16="http://schemas.microsoft.com/office/drawing/2014/main" id="{CA5F3860-01A3-CBB1-D4D4-95A46FC53B19}"/>
                </a:ext>
              </a:extLst>
            </p:cNvPr>
            <p:cNvSpPr/>
            <p:nvPr/>
          </p:nvSpPr>
          <p:spPr bwMode="auto">
            <a:xfrm rot="10800000">
              <a:off x="4478298" y="1942981"/>
              <a:ext cx="373641" cy="381306"/>
            </a:xfrm>
            <a:prstGeom prst="round2SameRect">
              <a:avLst>
                <a:gd name="adj1" fmla="val 50000"/>
                <a:gd name="adj2" fmla="val 3496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46C9B56A-2B3D-F43B-0CE9-9AC515932FB3}"/>
                </a:ext>
              </a:extLst>
            </p:cNvPr>
            <p:cNvSpPr/>
            <p:nvPr/>
          </p:nvSpPr>
          <p:spPr bwMode="auto">
            <a:xfrm>
              <a:off x="3692301" y="1584418"/>
              <a:ext cx="870366" cy="14473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14351673-45E4-FFDD-62B0-6D9EFFB2E2BC}"/>
                </a:ext>
              </a:extLst>
            </p:cNvPr>
            <p:cNvSpPr/>
            <p:nvPr/>
          </p:nvSpPr>
          <p:spPr bwMode="auto">
            <a:xfrm>
              <a:off x="3791700" y="1710973"/>
              <a:ext cx="770967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Isosceles Triangle 196">
              <a:extLst>
                <a:ext uri="{FF2B5EF4-FFF2-40B4-BE49-F238E27FC236}">
                  <a16:creationId xmlns:a16="http://schemas.microsoft.com/office/drawing/2014/main" id="{3052233A-3908-0CEB-6651-209DA1D3FCF2}"/>
                </a:ext>
              </a:extLst>
            </p:cNvPr>
            <p:cNvSpPr/>
            <p:nvPr/>
          </p:nvSpPr>
          <p:spPr bwMode="auto">
            <a:xfrm>
              <a:off x="4560523" y="1724601"/>
              <a:ext cx="218837" cy="181764"/>
            </a:xfrm>
            <a:prstGeom prst="triangle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69FD5BBD-EBD9-95C2-0C43-5F499DD1FAD4}"/>
                </a:ext>
              </a:extLst>
            </p:cNvPr>
            <p:cNvSpPr/>
            <p:nvPr/>
          </p:nvSpPr>
          <p:spPr bwMode="auto">
            <a:xfrm rot="5400000" flipV="1">
              <a:off x="4626360" y="1873889"/>
              <a:ext cx="288000" cy="18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Rectangle: Top Corners Rounded 198">
              <a:extLst>
                <a:ext uri="{FF2B5EF4-FFF2-40B4-BE49-F238E27FC236}">
                  <a16:creationId xmlns:a16="http://schemas.microsoft.com/office/drawing/2014/main" id="{9AA81D20-839E-8B6D-9818-0A08D5FAF2DC}"/>
                </a:ext>
              </a:extLst>
            </p:cNvPr>
            <p:cNvSpPr/>
            <p:nvPr/>
          </p:nvSpPr>
          <p:spPr bwMode="auto">
            <a:xfrm rot="2632139">
              <a:off x="3672260" y="1183062"/>
              <a:ext cx="1013898" cy="4571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Rectangle: Top Corners Rounded 199">
              <a:extLst>
                <a:ext uri="{FF2B5EF4-FFF2-40B4-BE49-F238E27FC236}">
                  <a16:creationId xmlns:a16="http://schemas.microsoft.com/office/drawing/2014/main" id="{5292833C-82A3-F4C8-0F22-00412A746194}"/>
                </a:ext>
              </a:extLst>
            </p:cNvPr>
            <p:cNvSpPr/>
            <p:nvPr/>
          </p:nvSpPr>
          <p:spPr bwMode="auto">
            <a:xfrm>
              <a:off x="3395900" y="837506"/>
              <a:ext cx="529911" cy="300443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Isosceles Triangle 200">
              <a:extLst>
                <a:ext uri="{FF2B5EF4-FFF2-40B4-BE49-F238E27FC236}">
                  <a16:creationId xmlns:a16="http://schemas.microsoft.com/office/drawing/2014/main" id="{336652B9-9C54-E205-F8C1-74A188CE706D}"/>
                </a:ext>
              </a:extLst>
            </p:cNvPr>
            <p:cNvSpPr/>
            <p:nvPr/>
          </p:nvSpPr>
          <p:spPr bwMode="auto">
            <a:xfrm>
              <a:off x="3919461" y="973832"/>
              <a:ext cx="187940" cy="162256"/>
            </a:xfrm>
            <a:prstGeom prst="triangle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0008835C-32B4-92C2-78C3-D44FC88516CF}"/>
                </a:ext>
              </a:extLst>
            </p:cNvPr>
            <p:cNvSpPr/>
            <p:nvPr/>
          </p:nvSpPr>
          <p:spPr bwMode="auto">
            <a:xfrm>
              <a:off x="4502851" y="1514475"/>
              <a:ext cx="281874" cy="238125"/>
            </a:xfrm>
            <a:custGeom>
              <a:avLst/>
              <a:gdLst>
                <a:gd name="connsiteX0" fmla="*/ 0 w 238125"/>
                <a:gd name="connsiteY0" fmla="*/ 0 h 209550"/>
                <a:gd name="connsiteX1" fmla="*/ 193675 w 238125"/>
                <a:gd name="connsiteY1" fmla="*/ 1365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0 w 238125"/>
                <a:gd name="connsiteY0" fmla="*/ 0 h 209550"/>
                <a:gd name="connsiteX1" fmla="*/ 168275 w 238125"/>
                <a:gd name="connsiteY1" fmla="*/ 1238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0 w 238125"/>
                <a:gd name="connsiteY0" fmla="*/ 0 h 209550"/>
                <a:gd name="connsiteX1" fmla="*/ 168275 w 238125"/>
                <a:gd name="connsiteY1" fmla="*/ 1238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23709 w 234982"/>
                <a:gd name="connsiteY0" fmla="*/ 0 h 215900"/>
                <a:gd name="connsiteX1" fmla="*/ 165132 w 234982"/>
                <a:gd name="connsiteY1" fmla="*/ 130175 h 215900"/>
                <a:gd name="connsiteX2" fmla="*/ 234982 w 234982"/>
                <a:gd name="connsiteY2" fmla="*/ 215900 h 215900"/>
                <a:gd name="connsiteX3" fmla="*/ 32 w 234982"/>
                <a:gd name="connsiteY3" fmla="*/ 142875 h 215900"/>
                <a:gd name="connsiteX4" fmla="*/ 23709 w 234982"/>
                <a:gd name="connsiteY4" fmla="*/ 0 h 215900"/>
                <a:gd name="connsiteX0" fmla="*/ 24434 w 235707"/>
                <a:gd name="connsiteY0" fmla="*/ 0 h 215900"/>
                <a:gd name="connsiteX1" fmla="*/ 165857 w 235707"/>
                <a:gd name="connsiteY1" fmla="*/ 130175 h 215900"/>
                <a:gd name="connsiteX2" fmla="*/ 235707 w 235707"/>
                <a:gd name="connsiteY2" fmla="*/ 215900 h 215900"/>
                <a:gd name="connsiteX3" fmla="*/ 757 w 235707"/>
                <a:gd name="connsiteY3" fmla="*/ 142875 h 215900"/>
                <a:gd name="connsiteX4" fmla="*/ 24434 w 235707"/>
                <a:gd name="connsiteY4" fmla="*/ 0 h 215900"/>
                <a:gd name="connsiteX0" fmla="*/ 24434 w 227651"/>
                <a:gd name="connsiteY0" fmla="*/ 0 h 215900"/>
                <a:gd name="connsiteX1" fmla="*/ 165857 w 227651"/>
                <a:gd name="connsiteY1" fmla="*/ 130175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27651"/>
                <a:gd name="connsiteY0" fmla="*/ 0 h 215900"/>
                <a:gd name="connsiteX1" fmla="*/ 184155 w 227651"/>
                <a:gd name="connsiteY1" fmla="*/ 127000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27651"/>
                <a:gd name="connsiteY0" fmla="*/ 0 h 215900"/>
                <a:gd name="connsiteX1" fmla="*/ 184155 w 227651"/>
                <a:gd name="connsiteY1" fmla="*/ 127000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32067"/>
                <a:gd name="connsiteY0" fmla="*/ 0 h 238125"/>
                <a:gd name="connsiteX1" fmla="*/ 184155 w 232067"/>
                <a:gd name="connsiteY1" fmla="*/ 127000 h 238125"/>
                <a:gd name="connsiteX2" fmla="*/ 232067 w 232067"/>
                <a:gd name="connsiteY2" fmla="*/ 238125 h 238125"/>
                <a:gd name="connsiteX3" fmla="*/ 757 w 232067"/>
                <a:gd name="connsiteY3" fmla="*/ 142875 h 238125"/>
                <a:gd name="connsiteX4" fmla="*/ 24434 w 232067"/>
                <a:gd name="connsiteY4" fmla="*/ 0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067" h="238125">
                  <a:moveTo>
                    <a:pt x="24434" y="0"/>
                  </a:moveTo>
                  <a:lnTo>
                    <a:pt x="184155" y="127000"/>
                  </a:lnTo>
                  <a:cubicBezTo>
                    <a:pt x="218085" y="174625"/>
                    <a:pt x="208784" y="209550"/>
                    <a:pt x="232067" y="238125"/>
                  </a:cubicBezTo>
                  <a:lnTo>
                    <a:pt x="757" y="142875"/>
                  </a:lnTo>
                  <a:cubicBezTo>
                    <a:pt x="-301" y="97367"/>
                    <a:pt x="-4046" y="20108"/>
                    <a:pt x="24434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B8C6AEE6-CF12-D3D2-520B-A27782BB1474}"/>
                </a:ext>
              </a:extLst>
            </p:cNvPr>
            <p:cNvSpPr/>
            <p:nvPr/>
          </p:nvSpPr>
          <p:spPr bwMode="auto">
            <a:xfrm>
              <a:off x="4475620" y="1907021"/>
              <a:ext cx="291614" cy="9224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EAE06FCB-1A1B-F099-9CCE-9613BFA769EF}"/>
                </a:ext>
              </a:extLst>
            </p:cNvPr>
            <p:cNvSpPr/>
            <p:nvPr/>
          </p:nvSpPr>
          <p:spPr bwMode="auto">
            <a:xfrm>
              <a:off x="3660855" y="1753506"/>
              <a:ext cx="291614" cy="9224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F1080BD1-AE64-2674-ED55-182181FE4479}"/>
              </a:ext>
            </a:extLst>
          </p:cNvPr>
          <p:cNvGrpSpPr>
            <a:grpSpLocks noChangeAspect="1"/>
          </p:cNvGrpSpPr>
          <p:nvPr/>
        </p:nvGrpSpPr>
        <p:grpSpPr>
          <a:xfrm>
            <a:off x="9745946" y="5919658"/>
            <a:ext cx="737537" cy="392596"/>
            <a:chOff x="1160260" y="837506"/>
            <a:chExt cx="3691679" cy="1965105"/>
          </a:xfrm>
          <a:solidFill>
            <a:srgbClr val="007AC2"/>
          </a:solidFill>
        </p:grpSpPr>
        <p:sp>
          <p:nvSpPr>
            <p:cNvPr id="206" name="Circle: Hollow 205">
              <a:extLst>
                <a:ext uri="{FF2B5EF4-FFF2-40B4-BE49-F238E27FC236}">
                  <a16:creationId xmlns:a16="http://schemas.microsoft.com/office/drawing/2014/main" id="{0C3F2CB8-C5B8-9DD5-3707-353BDB63BB97}"/>
                </a:ext>
              </a:extLst>
            </p:cNvPr>
            <p:cNvSpPr/>
            <p:nvPr/>
          </p:nvSpPr>
          <p:spPr bwMode="auto">
            <a:xfrm>
              <a:off x="3950055" y="203411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Circle: Hollow 206">
              <a:extLst>
                <a:ext uri="{FF2B5EF4-FFF2-40B4-BE49-F238E27FC236}">
                  <a16:creationId xmlns:a16="http://schemas.microsoft.com/office/drawing/2014/main" id="{6ABCBEB8-2764-8232-2EC6-3A8612450687}"/>
                </a:ext>
              </a:extLst>
            </p:cNvPr>
            <p:cNvSpPr/>
            <p:nvPr/>
          </p:nvSpPr>
          <p:spPr bwMode="auto">
            <a:xfrm>
              <a:off x="1626840" y="203411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Block Arc 207">
              <a:extLst>
                <a:ext uri="{FF2B5EF4-FFF2-40B4-BE49-F238E27FC236}">
                  <a16:creationId xmlns:a16="http://schemas.microsoft.com/office/drawing/2014/main" id="{1AEA5987-E140-961B-D398-A928F92A0A2A}"/>
                </a:ext>
              </a:extLst>
            </p:cNvPr>
            <p:cNvSpPr/>
            <p:nvPr/>
          </p:nvSpPr>
          <p:spPr bwMode="auto">
            <a:xfrm>
              <a:off x="1461657" y="1866507"/>
              <a:ext cx="870366" cy="936104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Block Arc 208">
              <a:extLst>
                <a:ext uri="{FF2B5EF4-FFF2-40B4-BE49-F238E27FC236}">
                  <a16:creationId xmlns:a16="http://schemas.microsoft.com/office/drawing/2014/main" id="{D7F81311-5C75-9ED7-FD53-73367B5734E9}"/>
                </a:ext>
              </a:extLst>
            </p:cNvPr>
            <p:cNvSpPr/>
            <p:nvPr/>
          </p:nvSpPr>
          <p:spPr bwMode="auto">
            <a:xfrm>
              <a:off x="3784872" y="1866507"/>
              <a:ext cx="870366" cy="936104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Rectangle: Top Corners Rounded 209">
              <a:extLst>
                <a:ext uri="{FF2B5EF4-FFF2-40B4-BE49-F238E27FC236}">
                  <a16:creationId xmlns:a16="http://schemas.microsoft.com/office/drawing/2014/main" id="{C0EC294F-AA34-DF46-779B-CE7AC22CE5A0}"/>
                </a:ext>
              </a:extLst>
            </p:cNvPr>
            <p:cNvSpPr/>
            <p:nvPr/>
          </p:nvSpPr>
          <p:spPr bwMode="auto">
            <a:xfrm rot="10800000">
              <a:off x="1160260" y="2034114"/>
              <a:ext cx="373641" cy="300443"/>
            </a:xfrm>
            <a:prstGeom prst="round2SameRect">
              <a:avLst>
                <a:gd name="adj1" fmla="val 34058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Rectangle: Top Corners Rounded 210">
              <a:extLst>
                <a:ext uri="{FF2B5EF4-FFF2-40B4-BE49-F238E27FC236}">
                  <a16:creationId xmlns:a16="http://schemas.microsoft.com/office/drawing/2014/main" id="{2B76FB45-C943-38E2-0E54-0B171369DFAD}"/>
                </a:ext>
              </a:extLst>
            </p:cNvPr>
            <p:cNvSpPr/>
            <p:nvPr/>
          </p:nvSpPr>
          <p:spPr bwMode="auto">
            <a:xfrm>
              <a:off x="1189933" y="837506"/>
              <a:ext cx="2517971" cy="1127556"/>
            </a:xfrm>
            <a:prstGeom prst="round2SameRect">
              <a:avLst>
                <a:gd name="adj1" fmla="val 6976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0D0AF33B-0BAE-2D41-F378-70043C009322}"/>
                </a:ext>
              </a:extLst>
            </p:cNvPr>
            <p:cNvSpPr/>
            <p:nvPr/>
          </p:nvSpPr>
          <p:spPr bwMode="auto">
            <a:xfrm>
              <a:off x="1193469" y="1823974"/>
              <a:ext cx="432048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8DA2FD92-2486-2C29-C0EB-F3F96E1F53C7}"/>
                </a:ext>
              </a:extLst>
            </p:cNvPr>
            <p:cNvSpPr/>
            <p:nvPr/>
          </p:nvSpPr>
          <p:spPr bwMode="auto">
            <a:xfrm>
              <a:off x="2160063" y="1773610"/>
              <a:ext cx="1759398" cy="35080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FE42B664-B502-3F91-1115-8EBFB8115FAA}"/>
                </a:ext>
              </a:extLst>
            </p:cNvPr>
            <p:cNvSpPr/>
            <p:nvPr/>
          </p:nvSpPr>
          <p:spPr bwMode="auto">
            <a:xfrm>
              <a:off x="2203880" y="2023844"/>
              <a:ext cx="1625263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Rectangle: Top Corners Rounded 214">
              <a:extLst>
                <a:ext uri="{FF2B5EF4-FFF2-40B4-BE49-F238E27FC236}">
                  <a16:creationId xmlns:a16="http://schemas.microsoft.com/office/drawing/2014/main" id="{4EBFF1B7-F91D-B82E-1AB8-1B4050C0BE9D}"/>
                </a:ext>
              </a:extLst>
            </p:cNvPr>
            <p:cNvSpPr/>
            <p:nvPr/>
          </p:nvSpPr>
          <p:spPr bwMode="auto">
            <a:xfrm rot="10800000">
              <a:off x="4478298" y="1942981"/>
              <a:ext cx="373641" cy="381306"/>
            </a:xfrm>
            <a:prstGeom prst="round2SameRect">
              <a:avLst>
                <a:gd name="adj1" fmla="val 50000"/>
                <a:gd name="adj2" fmla="val 3496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8F9C064E-DC65-4A14-B568-6A3D4ADA2753}"/>
                </a:ext>
              </a:extLst>
            </p:cNvPr>
            <p:cNvSpPr/>
            <p:nvPr/>
          </p:nvSpPr>
          <p:spPr bwMode="auto">
            <a:xfrm>
              <a:off x="3692301" y="1584418"/>
              <a:ext cx="870366" cy="14473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Rectangle 216">
              <a:extLst>
                <a:ext uri="{FF2B5EF4-FFF2-40B4-BE49-F238E27FC236}">
                  <a16:creationId xmlns:a16="http://schemas.microsoft.com/office/drawing/2014/main" id="{0E5ECA7E-1FDB-8E0F-8C15-BC4C6393C070}"/>
                </a:ext>
              </a:extLst>
            </p:cNvPr>
            <p:cNvSpPr/>
            <p:nvPr/>
          </p:nvSpPr>
          <p:spPr bwMode="auto">
            <a:xfrm>
              <a:off x="3791700" y="1710973"/>
              <a:ext cx="770967" cy="300443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8" name="Isosceles Triangle 217">
              <a:extLst>
                <a:ext uri="{FF2B5EF4-FFF2-40B4-BE49-F238E27FC236}">
                  <a16:creationId xmlns:a16="http://schemas.microsoft.com/office/drawing/2014/main" id="{947969DA-9C15-4687-3DEB-0488D6F9DC8E}"/>
                </a:ext>
              </a:extLst>
            </p:cNvPr>
            <p:cNvSpPr/>
            <p:nvPr/>
          </p:nvSpPr>
          <p:spPr bwMode="auto">
            <a:xfrm>
              <a:off x="4560523" y="1724601"/>
              <a:ext cx="218837" cy="181764"/>
            </a:xfrm>
            <a:prstGeom prst="triangle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D6A84DA3-853D-EE66-71A9-D72AB9E59C12}"/>
                </a:ext>
              </a:extLst>
            </p:cNvPr>
            <p:cNvSpPr/>
            <p:nvPr/>
          </p:nvSpPr>
          <p:spPr bwMode="auto">
            <a:xfrm rot="5400000" flipV="1">
              <a:off x="4626360" y="1873889"/>
              <a:ext cx="288000" cy="180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0" name="Rectangle: Top Corners Rounded 219">
              <a:extLst>
                <a:ext uri="{FF2B5EF4-FFF2-40B4-BE49-F238E27FC236}">
                  <a16:creationId xmlns:a16="http://schemas.microsoft.com/office/drawing/2014/main" id="{9961C8F6-6D53-FBCE-A6FE-AED6DFFF2EB6}"/>
                </a:ext>
              </a:extLst>
            </p:cNvPr>
            <p:cNvSpPr/>
            <p:nvPr/>
          </p:nvSpPr>
          <p:spPr bwMode="auto">
            <a:xfrm rot="2632139">
              <a:off x="3672260" y="1183062"/>
              <a:ext cx="1013898" cy="4571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Rectangle: Top Corners Rounded 220">
              <a:extLst>
                <a:ext uri="{FF2B5EF4-FFF2-40B4-BE49-F238E27FC236}">
                  <a16:creationId xmlns:a16="http://schemas.microsoft.com/office/drawing/2014/main" id="{3522970E-87CB-9091-7686-73B3AFDCDDBA}"/>
                </a:ext>
              </a:extLst>
            </p:cNvPr>
            <p:cNvSpPr/>
            <p:nvPr/>
          </p:nvSpPr>
          <p:spPr bwMode="auto">
            <a:xfrm>
              <a:off x="3395900" y="837506"/>
              <a:ext cx="529911" cy="300443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Isosceles Triangle 221">
              <a:extLst>
                <a:ext uri="{FF2B5EF4-FFF2-40B4-BE49-F238E27FC236}">
                  <a16:creationId xmlns:a16="http://schemas.microsoft.com/office/drawing/2014/main" id="{B03A6305-6CAC-0BD9-3757-3AD356217DD6}"/>
                </a:ext>
              </a:extLst>
            </p:cNvPr>
            <p:cNvSpPr/>
            <p:nvPr/>
          </p:nvSpPr>
          <p:spPr bwMode="auto">
            <a:xfrm>
              <a:off x="3919461" y="973832"/>
              <a:ext cx="187940" cy="162256"/>
            </a:xfrm>
            <a:prstGeom prst="triangle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46585C75-F021-E1AB-EFD4-877646DF3FC1}"/>
                </a:ext>
              </a:extLst>
            </p:cNvPr>
            <p:cNvSpPr/>
            <p:nvPr/>
          </p:nvSpPr>
          <p:spPr bwMode="auto">
            <a:xfrm>
              <a:off x="4502851" y="1514475"/>
              <a:ext cx="281874" cy="238125"/>
            </a:xfrm>
            <a:custGeom>
              <a:avLst/>
              <a:gdLst>
                <a:gd name="connsiteX0" fmla="*/ 0 w 238125"/>
                <a:gd name="connsiteY0" fmla="*/ 0 h 209550"/>
                <a:gd name="connsiteX1" fmla="*/ 193675 w 238125"/>
                <a:gd name="connsiteY1" fmla="*/ 1365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0 w 238125"/>
                <a:gd name="connsiteY0" fmla="*/ 0 h 209550"/>
                <a:gd name="connsiteX1" fmla="*/ 168275 w 238125"/>
                <a:gd name="connsiteY1" fmla="*/ 1238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0 w 238125"/>
                <a:gd name="connsiteY0" fmla="*/ 0 h 209550"/>
                <a:gd name="connsiteX1" fmla="*/ 168275 w 238125"/>
                <a:gd name="connsiteY1" fmla="*/ 123825 h 209550"/>
                <a:gd name="connsiteX2" fmla="*/ 238125 w 238125"/>
                <a:gd name="connsiteY2" fmla="*/ 209550 h 209550"/>
                <a:gd name="connsiteX3" fmla="*/ 3175 w 238125"/>
                <a:gd name="connsiteY3" fmla="*/ 136525 h 209550"/>
                <a:gd name="connsiteX4" fmla="*/ 0 w 238125"/>
                <a:gd name="connsiteY4" fmla="*/ 0 h 209550"/>
                <a:gd name="connsiteX0" fmla="*/ 23709 w 234982"/>
                <a:gd name="connsiteY0" fmla="*/ 0 h 215900"/>
                <a:gd name="connsiteX1" fmla="*/ 165132 w 234982"/>
                <a:gd name="connsiteY1" fmla="*/ 130175 h 215900"/>
                <a:gd name="connsiteX2" fmla="*/ 234982 w 234982"/>
                <a:gd name="connsiteY2" fmla="*/ 215900 h 215900"/>
                <a:gd name="connsiteX3" fmla="*/ 32 w 234982"/>
                <a:gd name="connsiteY3" fmla="*/ 142875 h 215900"/>
                <a:gd name="connsiteX4" fmla="*/ 23709 w 234982"/>
                <a:gd name="connsiteY4" fmla="*/ 0 h 215900"/>
                <a:gd name="connsiteX0" fmla="*/ 24434 w 235707"/>
                <a:gd name="connsiteY0" fmla="*/ 0 h 215900"/>
                <a:gd name="connsiteX1" fmla="*/ 165857 w 235707"/>
                <a:gd name="connsiteY1" fmla="*/ 130175 h 215900"/>
                <a:gd name="connsiteX2" fmla="*/ 235707 w 235707"/>
                <a:gd name="connsiteY2" fmla="*/ 215900 h 215900"/>
                <a:gd name="connsiteX3" fmla="*/ 757 w 235707"/>
                <a:gd name="connsiteY3" fmla="*/ 142875 h 215900"/>
                <a:gd name="connsiteX4" fmla="*/ 24434 w 235707"/>
                <a:gd name="connsiteY4" fmla="*/ 0 h 215900"/>
                <a:gd name="connsiteX0" fmla="*/ 24434 w 227651"/>
                <a:gd name="connsiteY0" fmla="*/ 0 h 215900"/>
                <a:gd name="connsiteX1" fmla="*/ 165857 w 227651"/>
                <a:gd name="connsiteY1" fmla="*/ 130175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27651"/>
                <a:gd name="connsiteY0" fmla="*/ 0 h 215900"/>
                <a:gd name="connsiteX1" fmla="*/ 184155 w 227651"/>
                <a:gd name="connsiteY1" fmla="*/ 127000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27651"/>
                <a:gd name="connsiteY0" fmla="*/ 0 h 215900"/>
                <a:gd name="connsiteX1" fmla="*/ 184155 w 227651"/>
                <a:gd name="connsiteY1" fmla="*/ 127000 h 215900"/>
                <a:gd name="connsiteX2" fmla="*/ 227651 w 227651"/>
                <a:gd name="connsiteY2" fmla="*/ 215900 h 215900"/>
                <a:gd name="connsiteX3" fmla="*/ 757 w 227651"/>
                <a:gd name="connsiteY3" fmla="*/ 142875 h 215900"/>
                <a:gd name="connsiteX4" fmla="*/ 24434 w 227651"/>
                <a:gd name="connsiteY4" fmla="*/ 0 h 215900"/>
                <a:gd name="connsiteX0" fmla="*/ 24434 w 232067"/>
                <a:gd name="connsiteY0" fmla="*/ 0 h 238125"/>
                <a:gd name="connsiteX1" fmla="*/ 184155 w 232067"/>
                <a:gd name="connsiteY1" fmla="*/ 127000 h 238125"/>
                <a:gd name="connsiteX2" fmla="*/ 232067 w 232067"/>
                <a:gd name="connsiteY2" fmla="*/ 238125 h 238125"/>
                <a:gd name="connsiteX3" fmla="*/ 757 w 232067"/>
                <a:gd name="connsiteY3" fmla="*/ 142875 h 238125"/>
                <a:gd name="connsiteX4" fmla="*/ 24434 w 232067"/>
                <a:gd name="connsiteY4" fmla="*/ 0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067" h="238125">
                  <a:moveTo>
                    <a:pt x="24434" y="0"/>
                  </a:moveTo>
                  <a:lnTo>
                    <a:pt x="184155" y="127000"/>
                  </a:lnTo>
                  <a:cubicBezTo>
                    <a:pt x="218085" y="174625"/>
                    <a:pt x="208784" y="209550"/>
                    <a:pt x="232067" y="238125"/>
                  </a:cubicBezTo>
                  <a:lnTo>
                    <a:pt x="757" y="142875"/>
                  </a:lnTo>
                  <a:cubicBezTo>
                    <a:pt x="-301" y="97367"/>
                    <a:pt x="-4046" y="20108"/>
                    <a:pt x="24434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EFD68AA5-F342-4483-5422-D22A02BF638B}"/>
                </a:ext>
              </a:extLst>
            </p:cNvPr>
            <p:cNvSpPr/>
            <p:nvPr/>
          </p:nvSpPr>
          <p:spPr bwMode="auto">
            <a:xfrm>
              <a:off x="4475620" y="1907021"/>
              <a:ext cx="291614" cy="9224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8C2F8CF9-4266-7B7B-9E6C-BDC494ABD0E6}"/>
                </a:ext>
              </a:extLst>
            </p:cNvPr>
            <p:cNvSpPr/>
            <p:nvPr/>
          </p:nvSpPr>
          <p:spPr bwMode="auto">
            <a:xfrm>
              <a:off x="3660855" y="1753506"/>
              <a:ext cx="291614" cy="9224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104A5401-5A80-0EE7-F01A-AC0BD22C18A5}"/>
              </a:ext>
            </a:extLst>
          </p:cNvPr>
          <p:cNvSpPr/>
          <p:nvPr/>
        </p:nvSpPr>
        <p:spPr bwMode="auto">
          <a:xfrm>
            <a:off x="2897247" y="2777353"/>
            <a:ext cx="7776639" cy="12241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98" tIns="46799" rIns="93598" bIns="46799" numCol="1" rtlCol="0" anchor="t" anchorCtr="0" compatLnSpc="1">
            <a:prstTxWarp prst="textNoShape">
              <a:avLst/>
            </a:prstTxWarp>
          </a:bodyPr>
          <a:lstStyle/>
          <a:p>
            <a:pPr defTabSz="914309"/>
            <a:r>
              <a:rPr lang="nl-NL" sz="1600" dirty="0"/>
              <a:t>Inzet van materie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032890-01A3-4634-9068-B774918F2818}"/>
              </a:ext>
            </a:extLst>
          </p:cNvPr>
          <p:cNvSpPr/>
          <p:nvPr/>
        </p:nvSpPr>
        <p:spPr bwMode="auto">
          <a:xfrm>
            <a:off x="663948" y="3589217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/>
              <a:t>Onderaanne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EE2AFBF-682A-4A01-D7BB-0A65CF9857AC}"/>
              </a:ext>
            </a:extLst>
          </p:cNvPr>
          <p:cNvSpPr/>
          <p:nvPr/>
        </p:nvSpPr>
        <p:spPr bwMode="auto">
          <a:xfrm>
            <a:off x="677946" y="3041753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/>
              <a:t>Aannemer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C8A79987-64B7-B6F7-1BE7-929996D826C3}"/>
              </a:ext>
            </a:extLst>
          </p:cNvPr>
          <p:cNvSpPr/>
          <p:nvPr/>
        </p:nvSpPr>
        <p:spPr bwMode="auto">
          <a:xfrm>
            <a:off x="3240000" y="3551338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 dirty="0"/>
              <a:t>(Onder-)aannemer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353E48C5-8E68-40DA-AC16-EE267CA8C050}"/>
              </a:ext>
            </a:extLst>
          </p:cNvPr>
          <p:cNvSpPr/>
          <p:nvPr/>
        </p:nvSpPr>
        <p:spPr bwMode="auto">
          <a:xfrm>
            <a:off x="3240000" y="3080797"/>
            <a:ext cx="2088171" cy="360029"/>
          </a:xfrm>
          <a:prstGeom prst="rect">
            <a:avLst/>
          </a:prstGeom>
          <a:solidFill>
            <a:srgbClr val="97C14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598" tIns="46799" rIns="93598" bIns="46799" numCol="1" rtlCol="0" anchor="ctr" anchorCtr="0" compatLnSpc="1">
            <a:prstTxWarp prst="textNoShape">
              <a:avLst/>
            </a:prstTxWarp>
          </a:bodyPr>
          <a:lstStyle/>
          <a:p>
            <a:pPr algn="ctr" defTabSz="914309"/>
            <a:r>
              <a:rPr lang="nl-NL" sz="1100" dirty="0"/>
              <a:t>Materieeldienst</a:t>
            </a:r>
          </a:p>
        </p:txBody>
      </p: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E6064703-6931-5F05-E6A9-295E87B7C8FE}"/>
              </a:ext>
            </a:extLst>
          </p:cNvPr>
          <p:cNvGrpSpPr>
            <a:grpSpLocks noChangeAspect="1"/>
          </p:cNvGrpSpPr>
          <p:nvPr/>
        </p:nvGrpSpPr>
        <p:grpSpPr>
          <a:xfrm>
            <a:off x="8456649" y="3577747"/>
            <a:ext cx="1171469" cy="341235"/>
            <a:chOff x="755576" y="4346705"/>
            <a:chExt cx="5002460" cy="1457157"/>
          </a:xfrm>
          <a:solidFill>
            <a:srgbClr val="007AC2"/>
          </a:solidFill>
        </p:grpSpPr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CFC5F020-002B-0141-C279-61F06073216E}"/>
                </a:ext>
              </a:extLst>
            </p:cNvPr>
            <p:cNvSpPr/>
            <p:nvPr/>
          </p:nvSpPr>
          <p:spPr bwMode="auto">
            <a:xfrm>
              <a:off x="4460489" y="4735052"/>
              <a:ext cx="526597" cy="59902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0C2CDDC9-24C6-ED71-9AF3-F655F2136E36}"/>
                </a:ext>
              </a:extLst>
            </p:cNvPr>
            <p:cNvSpPr/>
            <p:nvPr/>
          </p:nvSpPr>
          <p:spPr bwMode="auto">
            <a:xfrm>
              <a:off x="4460489" y="5334081"/>
              <a:ext cx="1009515" cy="254816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4" name="Rectangle 273">
              <a:extLst>
                <a:ext uri="{FF2B5EF4-FFF2-40B4-BE49-F238E27FC236}">
                  <a16:creationId xmlns:a16="http://schemas.microsoft.com/office/drawing/2014/main" id="{A65F14F0-6A0F-282D-845E-F5F94FBD0EF4}"/>
                </a:ext>
              </a:extLst>
            </p:cNvPr>
            <p:cNvSpPr/>
            <p:nvPr/>
          </p:nvSpPr>
          <p:spPr bwMode="auto">
            <a:xfrm>
              <a:off x="827584" y="5157986"/>
              <a:ext cx="133230" cy="42594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EE956635-7C52-2407-087C-1496FEA99F79}"/>
                </a:ext>
              </a:extLst>
            </p:cNvPr>
            <p:cNvSpPr/>
            <p:nvPr/>
          </p:nvSpPr>
          <p:spPr bwMode="auto">
            <a:xfrm>
              <a:off x="755576" y="5065407"/>
              <a:ext cx="3694185" cy="841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Rectangle 20">
              <a:extLst>
                <a:ext uri="{FF2B5EF4-FFF2-40B4-BE49-F238E27FC236}">
                  <a16:creationId xmlns:a16="http://schemas.microsoft.com/office/drawing/2014/main" id="{49C1F46C-9303-9963-C05D-24A843A64AEE}"/>
                </a:ext>
              </a:extLst>
            </p:cNvPr>
            <p:cNvSpPr/>
            <p:nvPr/>
          </p:nvSpPr>
          <p:spPr bwMode="auto">
            <a:xfrm>
              <a:off x="2627784" y="4417884"/>
              <a:ext cx="2648275" cy="275886"/>
            </a:xfrm>
            <a:custGeom>
              <a:avLst/>
              <a:gdLst>
                <a:gd name="connsiteX0" fmla="*/ 0 w 2648275"/>
                <a:gd name="connsiteY0" fmla="*/ 0 h 275886"/>
                <a:gd name="connsiteX1" fmla="*/ 2648275 w 2648275"/>
                <a:gd name="connsiteY1" fmla="*/ 0 h 275886"/>
                <a:gd name="connsiteX2" fmla="*/ 2648275 w 2648275"/>
                <a:gd name="connsiteY2" fmla="*/ 275886 h 275886"/>
                <a:gd name="connsiteX3" fmla="*/ 0 w 2648275"/>
                <a:gd name="connsiteY3" fmla="*/ 275886 h 275886"/>
                <a:gd name="connsiteX4" fmla="*/ 0 w 2648275"/>
                <a:gd name="connsiteY4" fmla="*/ 0 h 275886"/>
                <a:gd name="connsiteX0" fmla="*/ 0 w 2648275"/>
                <a:gd name="connsiteY0" fmla="*/ 0 h 275886"/>
                <a:gd name="connsiteX1" fmla="*/ 2648275 w 2648275"/>
                <a:gd name="connsiteY1" fmla="*/ 0 h 275886"/>
                <a:gd name="connsiteX2" fmla="*/ 2648275 w 2648275"/>
                <a:gd name="connsiteY2" fmla="*/ 275886 h 275886"/>
                <a:gd name="connsiteX3" fmla="*/ 129540 w 2648275"/>
                <a:gd name="connsiteY3" fmla="*/ 275886 h 275886"/>
                <a:gd name="connsiteX4" fmla="*/ 0 w 2648275"/>
                <a:gd name="connsiteY4" fmla="*/ 0 h 275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8275" h="275886">
                  <a:moveTo>
                    <a:pt x="0" y="0"/>
                  </a:moveTo>
                  <a:lnTo>
                    <a:pt x="2648275" y="0"/>
                  </a:lnTo>
                  <a:lnTo>
                    <a:pt x="2648275" y="275886"/>
                  </a:lnTo>
                  <a:lnTo>
                    <a:pt x="129540" y="2758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E7D8607A-E325-96D3-BC8A-7582B3268ADB}"/>
                </a:ext>
              </a:extLst>
            </p:cNvPr>
            <p:cNvSpPr/>
            <p:nvPr/>
          </p:nvSpPr>
          <p:spPr bwMode="auto">
            <a:xfrm>
              <a:off x="5143089" y="4437422"/>
              <a:ext cx="309809" cy="23681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66B9746C-FE35-DDD1-3DD5-E598527303C3}"/>
                </a:ext>
              </a:extLst>
            </p:cNvPr>
            <p:cNvSpPr/>
            <p:nvPr/>
          </p:nvSpPr>
          <p:spPr bwMode="auto">
            <a:xfrm>
              <a:off x="5342311" y="4465745"/>
              <a:ext cx="398376" cy="14200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9" name="Partial Circle 278">
              <a:extLst>
                <a:ext uri="{FF2B5EF4-FFF2-40B4-BE49-F238E27FC236}">
                  <a16:creationId xmlns:a16="http://schemas.microsoft.com/office/drawing/2014/main" id="{E9AB8BDB-FB2F-BE9B-C507-48027E34EBEB}"/>
                </a:ext>
              </a:extLst>
            </p:cNvPr>
            <p:cNvSpPr/>
            <p:nvPr/>
          </p:nvSpPr>
          <p:spPr bwMode="auto">
            <a:xfrm rot="14098364">
              <a:off x="5482231" y="5259467"/>
              <a:ext cx="216024" cy="216024"/>
            </a:xfrm>
            <a:prstGeom prst="pie">
              <a:avLst>
                <a:gd name="adj1" fmla="val 0"/>
                <a:gd name="adj2" fmla="val 1745449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505FD40B-AEA4-E405-D429-AB7895C86261}"/>
                </a:ext>
              </a:extLst>
            </p:cNvPr>
            <p:cNvSpPr/>
            <p:nvPr/>
          </p:nvSpPr>
          <p:spPr bwMode="auto">
            <a:xfrm rot="19581669">
              <a:off x="5551698" y="5262072"/>
              <a:ext cx="36000" cy="14401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Oval 280">
              <a:extLst>
                <a:ext uri="{FF2B5EF4-FFF2-40B4-BE49-F238E27FC236}">
                  <a16:creationId xmlns:a16="http://schemas.microsoft.com/office/drawing/2014/main" id="{BA153AAD-AE0F-15FA-2190-27DCF1727035}"/>
                </a:ext>
              </a:extLst>
            </p:cNvPr>
            <p:cNvSpPr/>
            <p:nvPr/>
          </p:nvSpPr>
          <p:spPr bwMode="auto">
            <a:xfrm>
              <a:off x="5614020" y="4346705"/>
              <a:ext cx="144016" cy="144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2" name="Oval 281">
              <a:extLst>
                <a:ext uri="{FF2B5EF4-FFF2-40B4-BE49-F238E27FC236}">
                  <a16:creationId xmlns:a16="http://schemas.microsoft.com/office/drawing/2014/main" id="{D85F267D-F304-DA5E-DC3C-4CBA64031C7A}"/>
                </a:ext>
              </a:extLst>
            </p:cNvPr>
            <p:cNvSpPr/>
            <p:nvPr/>
          </p:nvSpPr>
          <p:spPr bwMode="auto">
            <a:xfrm>
              <a:off x="5614020" y="4591028"/>
              <a:ext cx="144016" cy="144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3" name="Rectangle 282">
              <a:extLst>
                <a:ext uri="{FF2B5EF4-FFF2-40B4-BE49-F238E27FC236}">
                  <a16:creationId xmlns:a16="http://schemas.microsoft.com/office/drawing/2014/main" id="{3A7DBE4C-5FD2-3D9E-E2B5-DDC9E726C615}"/>
                </a:ext>
              </a:extLst>
            </p:cNvPr>
            <p:cNvSpPr/>
            <p:nvPr/>
          </p:nvSpPr>
          <p:spPr bwMode="auto">
            <a:xfrm>
              <a:off x="1291437" y="4945626"/>
              <a:ext cx="1578982" cy="8411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4" name="Rectangle 36">
              <a:extLst>
                <a:ext uri="{FF2B5EF4-FFF2-40B4-BE49-F238E27FC236}">
                  <a16:creationId xmlns:a16="http://schemas.microsoft.com/office/drawing/2014/main" id="{5604DD53-B61A-12A5-1384-BE0975FCA5A1}"/>
                </a:ext>
              </a:extLst>
            </p:cNvPr>
            <p:cNvSpPr/>
            <p:nvPr/>
          </p:nvSpPr>
          <p:spPr bwMode="auto">
            <a:xfrm>
              <a:off x="1163689" y="4619513"/>
              <a:ext cx="1009515" cy="275886"/>
            </a:xfrm>
            <a:custGeom>
              <a:avLst/>
              <a:gdLst>
                <a:gd name="connsiteX0" fmla="*/ 0 w 1009515"/>
                <a:gd name="connsiteY0" fmla="*/ 0 h 365947"/>
                <a:gd name="connsiteX1" fmla="*/ 1009515 w 1009515"/>
                <a:gd name="connsiteY1" fmla="*/ 0 h 365947"/>
                <a:gd name="connsiteX2" fmla="*/ 1009515 w 1009515"/>
                <a:gd name="connsiteY2" fmla="*/ 365947 h 365947"/>
                <a:gd name="connsiteX3" fmla="*/ 0 w 1009515"/>
                <a:gd name="connsiteY3" fmla="*/ 365947 h 365947"/>
                <a:gd name="connsiteX4" fmla="*/ 0 w 1009515"/>
                <a:gd name="connsiteY4" fmla="*/ 0 h 365947"/>
                <a:gd name="connsiteX0" fmla="*/ 0 w 1009515"/>
                <a:gd name="connsiteY0" fmla="*/ 0 h 365947"/>
                <a:gd name="connsiteX1" fmla="*/ 1009515 w 1009515"/>
                <a:gd name="connsiteY1" fmla="*/ 0 h 365947"/>
                <a:gd name="connsiteX2" fmla="*/ 1009515 w 1009515"/>
                <a:gd name="connsiteY2" fmla="*/ 365947 h 365947"/>
                <a:gd name="connsiteX3" fmla="*/ 76200 w 1009515"/>
                <a:gd name="connsiteY3" fmla="*/ 365947 h 365947"/>
                <a:gd name="connsiteX4" fmla="*/ 0 w 1009515"/>
                <a:gd name="connsiteY4" fmla="*/ 0 h 365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515" h="365947">
                  <a:moveTo>
                    <a:pt x="0" y="0"/>
                  </a:moveTo>
                  <a:lnTo>
                    <a:pt x="1009515" y="0"/>
                  </a:lnTo>
                  <a:lnTo>
                    <a:pt x="1009515" y="365947"/>
                  </a:lnTo>
                  <a:lnTo>
                    <a:pt x="76200" y="36594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71A596C5-0F3D-B5AE-EA40-884E85EDE38A}"/>
                </a:ext>
              </a:extLst>
            </p:cNvPr>
            <p:cNvSpPr/>
            <p:nvPr/>
          </p:nvSpPr>
          <p:spPr bwMode="auto">
            <a:xfrm>
              <a:off x="899591" y="4416626"/>
              <a:ext cx="1344127" cy="27588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Circle: Hollow 285">
              <a:extLst>
                <a:ext uri="{FF2B5EF4-FFF2-40B4-BE49-F238E27FC236}">
                  <a16:creationId xmlns:a16="http://schemas.microsoft.com/office/drawing/2014/main" id="{61A05F2C-6656-144C-916D-6BAE13D6F161}"/>
                </a:ext>
              </a:extLst>
            </p:cNvPr>
            <p:cNvSpPr/>
            <p:nvPr/>
          </p:nvSpPr>
          <p:spPr bwMode="auto">
            <a:xfrm>
              <a:off x="1080568" y="5263862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F4480F7E-E63B-1977-CABE-EEF4DEE2F9DC}"/>
                </a:ext>
              </a:extLst>
            </p:cNvPr>
            <p:cNvSpPr/>
            <p:nvPr/>
          </p:nvSpPr>
          <p:spPr bwMode="auto">
            <a:xfrm>
              <a:off x="1296568" y="5479862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8" name="Circle: Hollow 287">
              <a:extLst>
                <a:ext uri="{FF2B5EF4-FFF2-40B4-BE49-F238E27FC236}">
                  <a16:creationId xmlns:a16="http://schemas.microsoft.com/office/drawing/2014/main" id="{2BF816BA-56BE-6FF2-6E13-E1D8AA56C076}"/>
                </a:ext>
              </a:extLst>
            </p:cNvPr>
            <p:cNvSpPr/>
            <p:nvPr/>
          </p:nvSpPr>
          <p:spPr bwMode="auto">
            <a:xfrm>
              <a:off x="1738130" y="525849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9" name="Oval 288">
              <a:extLst>
                <a:ext uri="{FF2B5EF4-FFF2-40B4-BE49-F238E27FC236}">
                  <a16:creationId xmlns:a16="http://schemas.microsoft.com/office/drawing/2014/main" id="{5D4E5FDD-17DB-ED2D-3065-30A94F1CBB33}"/>
                </a:ext>
              </a:extLst>
            </p:cNvPr>
            <p:cNvSpPr/>
            <p:nvPr/>
          </p:nvSpPr>
          <p:spPr bwMode="auto">
            <a:xfrm>
              <a:off x="1954130" y="5474496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0" name="Block Arc 289">
              <a:extLst>
                <a:ext uri="{FF2B5EF4-FFF2-40B4-BE49-F238E27FC236}">
                  <a16:creationId xmlns:a16="http://schemas.microsoft.com/office/drawing/2014/main" id="{025F23EC-4638-F017-B1C3-C70F5D9F1780}"/>
                </a:ext>
              </a:extLst>
            </p:cNvPr>
            <p:cNvSpPr/>
            <p:nvPr/>
          </p:nvSpPr>
          <p:spPr bwMode="auto">
            <a:xfrm>
              <a:off x="965409" y="5166974"/>
              <a:ext cx="745623" cy="615044"/>
            </a:xfrm>
            <a:prstGeom prst="blockArc">
              <a:avLst>
                <a:gd name="adj1" fmla="val 10971431"/>
                <a:gd name="adj2" fmla="val 21488272"/>
                <a:gd name="adj3" fmla="val 1295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1" name="Block Arc 290">
              <a:extLst>
                <a:ext uri="{FF2B5EF4-FFF2-40B4-BE49-F238E27FC236}">
                  <a16:creationId xmlns:a16="http://schemas.microsoft.com/office/drawing/2014/main" id="{B066475B-AD6D-2E2C-05D4-C371DD90BE5A}"/>
                </a:ext>
              </a:extLst>
            </p:cNvPr>
            <p:cNvSpPr/>
            <p:nvPr/>
          </p:nvSpPr>
          <p:spPr bwMode="auto">
            <a:xfrm>
              <a:off x="1635877" y="5166974"/>
              <a:ext cx="745623" cy="615044"/>
            </a:xfrm>
            <a:prstGeom prst="blockArc">
              <a:avLst>
                <a:gd name="adj1" fmla="val 10971431"/>
                <a:gd name="adj2" fmla="val 21488272"/>
                <a:gd name="adj3" fmla="val 1295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2" name="Trapezoid 291">
              <a:extLst>
                <a:ext uri="{FF2B5EF4-FFF2-40B4-BE49-F238E27FC236}">
                  <a16:creationId xmlns:a16="http://schemas.microsoft.com/office/drawing/2014/main" id="{7169F6DA-5787-7CD4-1094-CD7F26A3B7E6}"/>
                </a:ext>
              </a:extLst>
            </p:cNvPr>
            <p:cNvSpPr/>
            <p:nvPr/>
          </p:nvSpPr>
          <p:spPr bwMode="auto">
            <a:xfrm rot="10800000">
              <a:off x="936815" y="5166973"/>
              <a:ext cx="149917" cy="28036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3" name="Trapezoid 292">
              <a:extLst>
                <a:ext uri="{FF2B5EF4-FFF2-40B4-BE49-F238E27FC236}">
                  <a16:creationId xmlns:a16="http://schemas.microsoft.com/office/drawing/2014/main" id="{B89BBB91-C356-5374-6308-256AE2298CA1}"/>
                </a:ext>
              </a:extLst>
            </p:cNvPr>
            <p:cNvSpPr/>
            <p:nvPr/>
          </p:nvSpPr>
          <p:spPr bwMode="auto">
            <a:xfrm rot="10800000">
              <a:off x="1597295" y="5166382"/>
              <a:ext cx="149917" cy="28036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4" name="Trapezoid 293">
              <a:extLst>
                <a:ext uri="{FF2B5EF4-FFF2-40B4-BE49-F238E27FC236}">
                  <a16:creationId xmlns:a16="http://schemas.microsoft.com/office/drawing/2014/main" id="{B0E3BB2C-FC2F-D13A-A51F-528312A60715}"/>
                </a:ext>
              </a:extLst>
            </p:cNvPr>
            <p:cNvSpPr/>
            <p:nvPr/>
          </p:nvSpPr>
          <p:spPr bwMode="auto">
            <a:xfrm rot="10800000">
              <a:off x="2266340" y="5177337"/>
              <a:ext cx="149917" cy="28036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5" name="Rectangle: Rounded Corners 294">
              <a:extLst>
                <a:ext uri="{FF2B5EF4-FFF2-40B4-BE49-F238E27FC236}">
                  <a16:creationId xmlns:a16="http://schemas.microsoft.com/office/drawing/2014/main" id="{D2A27053-DB1C-3477-695F-4499529F21B4}"/>
                </a:ext>
              </a:extLst>
            </p:cNvPr>
            <p:cNvSpPr/>
            <p:nvPr/>
          </p:nvSpPr>
          <p:spPr bwMode="auto">
            <a:xfrm>
              <a:off x="953504" y="5155066"/>
              <a:ext cx="1450177" cy="81586"/>
            </a:xfrm>
            <a:prstGeom prst="round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id="{E9ACED0A-36E1-FA37-54BE-327BB54D4E8D}"/>
                </a:ext>
              </a:extLst>
            </p:cNvPr>
            <p:cNvSpPr/>
            <p:nvPr/>
          </p:nvSpPr>
          <p:spPr bwMode="auto">
            <a:xfrm>
              <a:off x="2353153" y="5147315"/>
              <a:ext cx="697604" cy="296134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7" name="Circle: Hollow 296">
              <a:extLst>
                <a:ext uri="{FF2B5EF4-FFF2-40B4-BE49-F238E27FC236}">
                  <a16:creationId xmlns:a16="http://schemas.microsoft.com/office/drawing/2014/main" id="{12F4EBD8-E7E9-F67F-E77F-30BA5D1E12B2}"/>
                </a:ext>
              </a:extLst>
            </p:cNvPr>
            <p:cNvSpPr/>
            <p:nvPr/>
          </p:nvSpPr>
          <p:spPr bwMode="auto">
            <a:xfrm>
              <a:off x="3157364" y="5253190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8" name="Oval 297">
              <a:extLst>
                <a:ext uri="{FF2B5EF4-FFF2-40B4-BE49-F238E27FC236}">
                  <a16:creationId xmlns:a16="http://schemas.microsoft.com/office/drawing/2014/main" id="{16200BEB-0720-9317-6174-C5FD80C907C7}"/>
                </a:ext>
              </a:extLst>
            </p:cNvPr>
            <p:cNvSpPr/>
            <p:nvPr/>
          </p:nvSpPr>
          <p:spPr bwMode="auto">
            <a:xfrm>
              <a:off x="3373364" y="5469190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9" name="Circle: Hollow 298">
              <a:extLst>
                <a:ext uri="{FF2B5EF4-FFF2-40B4-BE49-F238E27FC236}">
                  <a16:creationId xmlns:a16="http://schemas.microsoft.com/office/drawing/2014/main" id="{708EF397-C2B9-4C0C-49B3-773463EE096F}"/>
                </a:ext>
              </a:extLst>
            </p:cNvPr>
            <p:cNvSpPr/>
            <p:nvPr/>
          </p:nvSpPr>
          <p:spPr bwMode="auto">
            <a:xfrm>
              <a:off x="3814926" y="5247824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0" name="Oval 299">
              <a:extLst>
                <a:ext uri="{FF2B5EF4-FFF2-40B4-BE49-F238E27FC236}">
                  <a16:creationId xmlns:a16="http://schemas.microsoft.com/office/drawing/2014/main" id="{D94F2772-1CD1-269D-C2DA-1E5895683335}"/>
                </a:ext>
              </a:extLst>
            </p:cNvPr>
            <p:cNvSpPr/>
            <p:nvPr/>
          </p:nvSpPr>
          <p:spPr bwMode="auto">
            <a:xfrm>
              <a:off x="4030926" y="5463824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1" name="Block Arc 300">
              <a:extLst>
                <a:ext uri="{FF2B5EF4-FFF2-40B4-BE49-F238E27FC236}">
                  <a16:creationId xmlns:a16="http://schemas.microsoft.com/office/drawing/2014/main" id="{FFBA796D-9D32-FA27-4F12-154A61DA5885}"/>
                </a:ext>
              </a:extLst>
            </p:cNvPr>
            <p:cNvSpPr/>
            <p:nvPr/>
          </p:nvSpPr>
          <p:spPr bwMode="auto">
            <a:xfrm>
              <a:off x="3042205" y="5156302"/>
              <a:ext cx="745623" cy="615044"/>
            </a:xfrm>
            <a:prstGeom prst="blockArc">
              <a:avLst>
                <a:gd name="adj1" fmla="val 10971431"/>
                <a:gd name="adj2" fmla="val 21488272"/>
                <a:gd name="adj3" fmla="val 1295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2" name="Block Arc 301">
              <a:extLst>
                <a:ext uri="{FF2B5EF4-FFF2-40B4-BE49-F238E27FC236}">
                  <a16:creationId xmlns:a16="http://schemas.microsoft.com/office/drawing/2014/main" id="{4D411CBB-8711-BE77-98F7-6058EB5B10DF}"/>
                </a:ext>
              </a:extLst>
            </p:cNvPr>
            <p:cNvSpPr/>
            <p:nvPr/>
          </p:nvSpPr>
          <p:spPr bwMode="auto">
            <a:xfrm>
              <a:off x="3712673" y="5156302"/>
              <a:ext cx="745623" cy="615044"/>
            </a:xfrm>
            <a:prstGeom prst="blockArc">
              <a:avLst>
                <a:gd name="adj1" fmla="val 10971431"/>
                <a:gd name="adj2" fmla="val 21488272"/>
                <a:gd name="adj3" fmla="val 1295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3" name="Trapezoid 302">
              <a:extLst>
                <a:ext uri="{FF2B5EF4-FFF2-40B4-BE49-F238E27FC236}">
                  <a16:creationId xmlns:a16="http://schemas.microsoft.com/office/drawing/2014/main" id="{01838911-6C27-0A42-2CB5-A93BE1767F33}"/>
                </a:ext>
              </a:extLst>
            </p:cNvPr>
            <p:cNvSpPr/>
            <p:nvPr/>
          </p:nvSpPr>
          <p:spPr bwMode="auto">
            <a:xfrm rot="10800000">
              <a:off x="3013611" y="5156301"/>
              <a:ext cx="149917" cy="28036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4" name="Trapezoid 303">
              <a:extLst>
                <a:ext uri="{FF2B5EF4-FFF2-40B4-BE49-F238E27FC236}">
                  <a16:creationId xmlns:a16="http://schemas.microsoft.com/office/drawing/2014/main" id="{2E37B945-0152-4572-8C47-6112A307BAF9}"/>
                </a:ext>
              </a:extLst>
            </p:cNvPr>
            <p:cNvSpPr/>
            <p:nvPr/>
          </p:nvSpPr>
          <p:spPr bwMode="auto">
            <a:xfrm rot="10800000">
              <a:off x="3674091" y="5155710"/>
              <a:ext cx="149917" cy="28036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5" name="Trapezoid 304">
              <a:extLst>
                <a:ext uri="{FF2B5EF4-FFF2-40B4-BE49-F238E27FC236}">
                  <a16:creationId xmlns:a16="http://schemas.microsoft.com/office/drawing/2014/main" id="{ADB712EF-AC0C-EAD4-4AC6-716592572CA1}"/>
                </a:ext>
              </a:extLst>
            </p:cNvPr>
            <p:cNvSpPr/>
            <p:nvPr/>
          </p:nvSpPr>
          <p:spPr bwMode="auto">
            <a:xfrm rot="10800000">
              <a:off x="4343136" y="5166665"/>
              <a:ext cx="149917" cy="28036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6" name="Rectangle: Rounded Corners 305">
              <a:extLst>
                <a:ext uri="{FF2B5EF4-FFF2-40B4-BE49-F238E27FC236}">
                  <a16:creationId xmlns:a16="http://schemas.microsoft.com/office/drawing/2014/main" id="{4F295356-B348-8991-C06D-73F22507941A}"/>
                </a:ext>
              </a:extLst>
            </p:cNvPr>
            <p:cNvSpPr/>
            <p:nvPr/>
          </p:nvSpPr>
          <p:spPr bwMode="auto">
            <a:xfrm>
              <a:off x="3030300" y="5144394"/>
              <a:ext cx="1450177" cy="81586"/>
            </a:xfrm>
            <a:prstGeom prst="round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7" name="Rectangle 306">
              <a:extLst>
                <a:ext uri="{FF2B5EF4-FFF2-40B4-BE49-F238E27FC236}">
                  <a16:creationId xmlns:a16="http://schemas.microsoft.com/office/drawing/2014/main" id="{F4DA585A-D962-05FB-FB0F-8EF71A5F6E97}"/>
                </a:ext>
              </a:extLst>
            </p:cNvPr>
            <p:cNvSpPr/>
            <p:nvPr/>
          </p:nvSpPr>
          <p:spPr bwMode="auto">
            <a:xfrm>
              <a:off x="832352" y="5136143"/>
              <a:ext cx="3739648" cy="14419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6A19F985-4D43-D7BE-6A22-30BD08894881}"/>
                </a:ext>
              </a:extLst>
            </p:cNvPr>
            <p:cNvSpPr/>
            <p:nvPr/>
          </p:nvSpPr>
          <p:spPr bwMode="auto">
            <a:xfrm>
              <a:off x="2220838" y="4420543"/>
              <a:ext cx="45719" cy="43204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id="{8B8F6CE8-BB32-DBD8-8493-BC2EC108D66C}"/>
                </a:ext>
              </a:extLst>
            </p:cNvPr>
            <p:cNvSpPr/>
            <p:nvPr/>
          </p:nvSpPr>
          <p:spPr bwMode="auto">
            <a:xfrm rot="5400000">
              <a:off x="2512356" y="4548046"/>
              <a:ext cx="45719" cy="62875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B8947FBC-9E60-91B0-FD0C-9FCC0B5D3571}"/>
                </a:ext>
              </a:extLst>
            </p:cNvPr>
            <p:cNvSpPr/>
            <p:nvPr/>
          </p:nvSpPr>
          <p:spPr bwMode="auto">
            <a:xfrm rot="5400000">
              <a:off x="2431270" y="4195098"/>
              <a:ext cx="45721" cy="47332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80392E59-4385-88E4-34BE-C6C961D9FF07}"/>
                </a:ext>
              </a:extLst>
            </p:cNvPr>
            <p:cNvSpPr/>
            <p:nvPr/>
          </p:nvSpPr>
          <p:spPr bwMode="auto">
            <a:xfrm rot="20252001">
              <a:off x="2735977" y="4402625"/>
              <a:ext cx="45719" cy="49967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id="{D7DA8D0B-DE24-6125-D187-4FD7D04DB916}"/>
                </a:ext>
              </a:extLst>
            </p:cNvPr>
            <p:cNvSpPr/>
            <p:nvPr/>
          </p:nvSpPr>
          <p:spPr bwMode="auto">
            <a:xfrm rot="5400000">
              <a:off x="5139859" y="4530449"/>
              <a:ext cx="45721" cy="47332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C4249D20-5A17-F067-4710-9DBB302AB3B6}"/>
                </a:ext>
              </a:extLst>
            </p:cNvPr>
            <p:cNvSpPr/>
            <p:nvPr/>
          </p:nvSpPr>
          <p:spPr bwMode="auto">
            <a:xfrm rot="21052243">
              <a:off x="5396364" y="4773033"/>
              <a:ext cx="52771" cy="55159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4" name="Rectangle 313">
              <a:extLst>
                <a:ext uri="{FF2B5EF4-FFF2-40B4-BE49-F238E27FC236}">
                  <a16:creationId xmlns:a16="http://schemas.microsoft.com/office/drawing/2014/main" id="{948265A1-81B2-E719-463D-3CDDD2C4E5EC}"/>
                </a:ext>
              </a:extLst>
            </p:cNvPr>
            <p:cNvSpPr/>
            <p:nvPr/>
          </p:nvSpPr>
          <p:spPr bwMode="auto">
            <a:xfrm rot="294127">
              <a:off x="5644797" y="4707538"/>
              <a:ext cx="36000" cy="59826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15" name="Picture 94">
            <a:extLst>
              <a:ext uri="{FF2B5EF4-FFF2-40B4-BE49-F238E27FC236}">
                <a16:creationId xmlns:a16="http://schemas.microsoft.com/office/drawing/2014/main" id="{18C620C0-6F69-7B1E-4CD1-9755F48E577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529533" y="2869920"/>
            <a:ext cx="689556" cy="469351"/>
          </a:xfrm>
          <a:prstGeom prst="rect">
            <a:avLst/>
          </a:prstGeom>
        </p:spPr>
      </p:pic>
      <p:grpSp>
        <p:nvGrpSpPr>
          <p:cNvPr id="316" name="Group 315">
            <a:extLst>
              <a:ext uri="{FF2B5EF4-FFF2-40B4-BE49-F238E27FC236}">
                <a16:creationId xmlns:a16="http://schemas.microsoft.com/office/drawing/2014/main" id="{7922F764-C2BC-1E68-3070-C53D5AFEC0B8}"/>
              </a:ext>
            </a:extLst>
          </p:cNvPr>
          <p:cNvGrpSpPr>
            <a:grpSpLocks noChangeAspect="1"/>
          </p:cNvGrpSpPr>
          <p:nvPr/>
        </p:nvGrpSpPr>
        <p:grpSpPr>
          <a:xfrm>
            <a:off x="9905733" y="3344227"/>
            <a:ext cx="494528" cy="596940"/>
            <a:chOff x="2379252" y="2219523"/>
            <a:chExt cx="3060278" cy="3694033"/>
          </a:xfrm>
          <a:solidFill>
            <a:srgbClr val="007AC2"/>
          </a:solidFill>
        </p:grpSpPr>
        <p:sp>
          <p:nvSpPr>
            <p:cNvPr id="317" name="Trapezoid 316">
              <a:extLst>
                <a:ext uri="{FF2B5EF4-FFF2-40B4-BE49-F238E27FC236}">
                  <a16:creationId xmlns:a16="http://schemas.microsoft.com/office/drawing/2014/main" id="{8070570A-18AD-F65F-BDC6-18915C1D010B}"/>
                </a:ext>
              </a:extLst>
            </p:cNvPr>
            <p:cNvSpPr/>
            <p:nvPr/>
          </p:nvSpPr>
          <p:spPr bwMode="auto">
            <a:xfrm rot="10800000">
              <a:off x="2771800" y="5374010"/>
              <a:ext cx="1440193" cy="323545"/>
            </a:xfrm>
            <a:prstGeom prst="trapezoid">
              <a:avLst>
                <a:gd name="adj" fmla="val 6537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8" name="Circle: Hollow 317">
              <a:extLst>
                <a:ext uri="{FF2B5EF4-FFF2-40B4-BE49-F238E27FC236}">
                  <a16:creationId xmlns:a16="http://schemas.microsoft.com/office/drawing/2014/main" id="{1A635EDD-081F-B5DE-3749-E5CC066F3A27}"/>
                </a:ext>
              </a:extLst>
            </p:cNvPr>
            <p:cNvSpPr/>
            <p:nvPr/>
          </p:nvSpPr>
          <p:spPr bwMode="auto">
            <a:xfrm>
              <a:off x="2379252" y="537355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19" name="Oval 318">
              <a:extLst>
                <a:ext uri="{FF2B5EF4-FFF2-40B4-BE49-F238E27FC236}">
                  <a16:creationId xmlns:a16="http://schemas.microsoft.com/office/drawing/2014/main" id="{9A60ECDB-E54D-A68D-EEC1-4F0976BC2509}"/>
                </a:ext>
              </a:extLst>
            </p:cNvPr>
            <p:cNvSpPr/>
            <p:nvPr/>
          </p:nvSpPr>
          <p:spPr bwMode="auto">
            <a:xfrm>
              <a:off x="2595252" y="5589556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0" name="Circle: Hollow 319">
              <a:extLst>
                <a:ext uri="{FF2B5EF4-FFF2-40B4-BE49-F238E27FC236}">
                  <a16:creationId xmlns:a16="http://schemas.microsoft.com/office/drawing/2014/main" id="{0D1ACD76-5BFF-F28A-0F0B-6240D8FB6DF7}"/>
                </a:ext>
              </a:extLst>
            </p:cNvPr>
            <p:cNvSpPr/>
            <p:nvPr/>
          </p:nvSpPr>
          <p:spPr bwMode="auto">
            <a:xfrm>
              <a:off x="4067978" y="5373556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1" name="Oval 320">
              <a:extLst>
                <a:ext uri="{FF2B5EF4-FFF2-40B4-BE49-F238E27FC236}">
                  <a16:creationId xmlns:a16="http://schemas.microsoft.com/office/drawing/2014/main" id="{9B8C9F82-8A98-6D0C-1F06-FB15DD766B5C}"/>
                </a:ext>
              </a:extLst>
            </p:cNvPr>
            <p:cNvSpPr/>
            <p:nvPr/>
          </p:nvSpPr>
          <p:spPr bwMode="auto">
            <a:xfrm>
              <a:off x="4283978" y="5589556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2" name="Trapezoid 321">
              <a:extLst>
                <a:ext uri="{FF2B5EF4-FFF2-40B4-BE49-F238E27FC236}">
                  <a16:creationId xmlns:a16="http://schemas.microsoft.com/office/drawing/2014/main" id="{7A37BD11-6963-9F53-661B-1E5D159171F8}"/>
                </a:ext>
              </a:extLst>
            </p:cNvPr>
            <p:cNvSpPr/>
            <p:nvPr/>
          </p:nvSpPr>
          <p:spPr bwMode="auto">
            <a:xfrm rot="10800000" flipV="1">
              <a:off x="3320825" y="5317636"/>
              <a:ext cx="324000" cy="72000"/>
            </a:xfrm>
            <a:prstGeom prst="trapezoid">
              <a:avLst>
                <a:gd name="adj" fmla="val 6537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3" name="Trapezoid 9">
              <a:extLst>
                <a:ext uri="{FF2B5EF4-FFF2-40B4-BE49-F238E27FC236}">
                  <a16:creationId xmlns:a16="http://schemas.microsoft.com/office/drawing/2014/main" id="{363A7D6A-5708-0ED8-6190-BF6349DBFAF5}"/>
                </a:ext>
              </a:extLst>
            </p:cNvPr>
            <p:cNvSpPr/>
            <p:nvPr/>
          </p:nvSpPr>
          <p:spPr bwMode="auto">
            <a:xfrm rot="10800000" flipV="1">
              <a:off x="2483802" y="4786676"/>
              <a:ext cx="1165748" cy="539999"/>
            </a:xfrm>
            <a:custGeom>
              <a:avLst/>
              <a:gdLst>
                <a:gd name="connsiteX0" fmla="*/ 0 w 1165748"/>
                <a:gd name="connsiteY0" fmla="*/ 323546 h 323546"/>
                <a:gd name="connsiteX1" fmla="*/ 98303 w 1165748"/>
                <a:gd name="connsiteY1" fmla="*/ 0 h 323546"/>
                <a:gd name="connsiteX2" fmla="*/ 1067445 w 1165748"/>
                <a:gd name="connsiteY2" fmla="*/ 0 h 323546"/>
                <a:gd name="connsiteX3" fmla="*/ 1165748 w 1165748"/>
                <a:gd name="connsiteY3" fmla="*/ 323546 h 323546"/>
                <a:gd name="connsiteX4" fmla="*/ 0 w 1165748"/>
                <a:gd name="connsiteY4" fmla="*/ 323546 h 323546"/>
                <a:gd name="connsiteX0" fmla="*/ 0 w 1165748"/>
                <a:gd name="connsiteY0" fmla="*/ 462883 h 462883"/>
                <a:gd name="connsiteX1" fmla="*/ 98303 w 1165748"/>
                <a:gd name="connsiteY1" fmla="*/ 139337 h 462883"/>
                <a:gd name="connsiteX2" fmla="*/ 1128405 w 1165748"/>
                <a:gd name="connsiteY2" fmla="*/ 0 h 462883"/>
                <a:gd name="connsiteX3" fmla="*/ 1165748 w 1165748"/>
                <a:gd name="connsiteY3" fmla="*/ 462883 h 462883"/>
                <a:gd name="connsiteX4" fmla="*/ 0 w 1165748"/>
                <a:gd name="connsiteY4" fmla="*/ 462883 h 46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5748" h="462883">
                  <a:moveTo>
                    <a:pt x="0" y="462883"/>
                  </a:moveTo>
                  <a:lnTo>
                    <a:pt x="98303" y="139337"/>
                  </a:lnTo>
                  <a:lnTo>
                    <a:pt x="1128405" y="0"/>
                  </a:lnTo>
                  <a:lnTo>
                    <a:pt x="1165748" y="462883"/>
                  </a:lnTo>
                  <a:lnTo>
                    <a:pt x="0" y="462883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4" name="Trapezoid 323">
              <a:extLst>
                <a:ext uri="{FF2B5EF4-FFF2-40B4-BE49-F238E27FC236}">
                  <a16:creationId xmlns:a16="http://schemas.microsoft.com/office/drawing/2014/main" id="{0D78CDA3-A549-3120-3807-9374B9A4EA27}"/>
                </a:ext>
              </a:extLst>
            </p:cNvPr>
            <p:cNvSpPr/>
            <p:nvPr/>
          </p:nvSpPr>
          <p:spPr bwMode="auto">
            <a:xfrm rot="12851641" flipV="1">
              <a:off x="3405043" y="2219523"/>
              <a:ext cx="207096" cy="2990467"/>
            </a:xfrm>
            <a:prstGeom prst="trapezoid">
              <a:avLst>
                <a:gd name="adj" fmla="val 22308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5" name="Trapezoid 324">
              <a:extLst>
                <a:ext uri="{FF2B5EF4-FFF2-40B4-BE49-F238E27FC236}">
                  <a16:creationId xmlns:a16="http://schemas.microsoft.com/office/drawing/2014/main" id="{492BCF9B-1B9F-6072-DA59-8B774CDAF9AE}"/>
                </a:ext>
              </a:extLst>
            </p:cNvPr>
            <p:cNvSpPr/>
            <p:nvPr/>
          </p:nvSpPr>
          <p:spPr bwMode="auto">
            <a:xfrm rot="18332716" flipV="1">
              <a:off x="4480895" y="2337164"/>
              <a:ext cx="104971" cy="598761"/>
            </a:xfrm>
            <a:prstGeom prst="trapezoid">
              <a:avLst>
                <a:gd name="adj" fmla="val 1421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6" name="Rectangle 325">
              <a:extLst>
                <a:ext uri="{FF2B5EF4-FFF2-40B4-BE49-F238E27FC236}">
                  <a16:creationId xmlns:a16="http://schemas.microsoft.com/office/drawing/2014/main" id="{D3E66893-E44F-1B9C-4C2A-80933E88617B}"/>
                </a:ext>
              </a:extLst>
            </p:cNvPr>
            <p:cNvSpPr/>
            <p:nvPr/>
          </p:nvSpPr>
          <p:spPr bwMode="auto">
            <a:xfrm>
              <a:off x="4716016" y="2781722"/>
              <a:ext cx="648072" cy="7157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7" name="Arrow: U-Turn 326">
              <a:extLst>
                <a:ext uri="{FF2B5EF4-FFF2-40B4-BE49-F238E27FC236}">
                  <a16:creationId xmlns:a16="http://schemas.microsoft.com/office/drawing/2014/main" id="{BFEF5136-5B9E-47D9-687A-6F64414AC25E}"/>
                </a:ext>
              </a:extLst>
            </p:cNvPr>
            <p:cNvSpPr/>
            <p:nvPr/>
          </p:nvSpPr>
          <p:spPr bwMode="auto">
            <a:xfrm>
              <a:off x="4716016" y="2256269"/>
              <a:ext cx="432048" cy="575628"/>
            </a:xfrm>
            <a:prstGeom prst="uturnArrow">
              <a:avLst>
                <a:gd name="adj1" fmla="val 8710"/>
                <a:gd name="adj2" fmla="val 25000"/>
                <a:gd name="adj3" fmla="val 0"/>
                <a:gd name="adj4" fmla="val 24745"/>
                <a:gd name="adj5" fmla="val 10000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8" name="Arrow: U-Turn 327">
              <a:extLst>
                <a:ext uri="{FF2B5EF4-FFF2-40B4-BE49-F238E27FC236}">
                  <a16:creationId xmlns:a16="http://schemas.microsoft.com/office/drawing/2014/main" id="{629B6100-7A1D-3772-17A6-1F6310A4B212}"/>
                </a:ext>
              </a:extLst>
            </p:cNvPr>
            <p:cNvSpPr/>
            <p:nvPr/>
          </p:nvSpPr>
          <p:spPr bwMode="auto">
            <a:xfrm>
              <a:off x="5007482" y="2249401"/>
              <a:ext cx="432048" cy="575628"/>
            </a:xfrm>
            <a:prstGeom prst="uturnArrow">
              <a:avLst>
                <a:gd name="adj1" fmla="val 8710"/>
                <a:gd name="adj2" fmla="val 25000"/>
                <a:gd name="adj3" fmla="val 0"/>
                <a:gd name="adj4" fmla="val 24745"/>
                <a:gd name="adj5" fmla="val 100000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29" name="Trapezoid 328">
              <a:extLst>
                <a:ext uri="{FF2B5EF4-FFF2-40B4-BE49-F238E27FC236}">
                  <a16:creationId xmlns:a16="http://schemas.microsoft.com/office/drawing/2014/main" id="{2301121E-B0E4-B4DD-24B4-F44A7BD36DBE}"/>
                </a:ext>
              </a:extLst>
            </p:cNvPr>
            <p:cNvSpPr/>
            <p:nvPr/>
          </p:nvSpPr>
          <p:spPr bwMode="auto">
            <a:xfrm rot="12429429" flipV="1">
              <a:off x="3051634" y="4252956"/>
              <a:ext cx="80483" cy="923898"/>
            </a:xfrm>
            <a:prstGeom prst="trapezoid">
              <a:avLst>
                <a:gd name="adj" fmla="val 22308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0" name="Trapezoid 329">
              <a:extLst>
                <a:ext uri="{FF2B5EF4-FFF2-40B4-BE49-F238E27FC236}">
                  <a16:creationId xmlns:a16="http://schemas.microsoft.com/office/drawing/2014/main" id="{9D9856F1-D75D-33FB-DC5A-912C07270874}"/>
                </a:ext>
              </a:extLst>
            </p:cNvPr>
            <p:cNvSpPr/>
            <p:nvPr/>
          </p:nvSpPr>
          <p:spPr bwMode="auto">
            <a:xfrm rot="12361517" flipV="1">
              <a:off x="3287993" y="3843994"/>
              <a:ext cx="36000" cy="923898"/>
            </a:xfrm>
            <a:prstGeom prst="trapezoid">
              <a:avLst>
                <a:gd name="adj" fmla="val 22308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1" name="Trapezoid 330">
              <a:extLst>
                <a:ext uri="{FF2B5EF4-FFF2-40B4-BE49-F238E27FC236}">
                  <a16:creationId xmlns:a16="http://schemas.microsoft.com/office/drawing/2014/main" id="{6E8D29CD-C9ED-B66D-AF31-FA584F737874}"/>
                </a:ext>
              </a:extLst>
            </p:cNvPr>
            <p:cNvSpPr/>
            <p:nvPr/>
          </p:nvSpPr>
          <p:spPr bwMode="auto">
            <a:xfrm rot="16666433">
              <a:off x="3346590" y="3815871"/>
              <a:ext cx="324000" cy="87634"/>
            </a:xfrm>
            <a:prstGeom prst="trapezoid">
              <a:avLst>
                <a:gd name="adj" fmla="val 6537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06E72D60-42F1-6C62-E105-F914993B0CB1}"/>
              </a:ext>
            </a:extLst>
          </p:cNvPr>
          <p:cNvGrpSpPr>
            <a:grpSpLocks noChangeAspect="1"/>
          </p:cNvGrpSpPr>
          <p:nvPr/>
        </p:nvGrpSpPr>
        <p:grpSpPr>
          <a:xfrm>
            <a:off x="9790408" y="2853224"/>
            <a:ext cx="616755" cy="469351"/>
            <a:chOff x="5619683" y="4034593"/>
            <a:chExt cx="2337000" cy="1778460"/>
          </a:xfrm>
          <a:solidFill>
            <a:srgbClr val="007AC2"/>
          </a:solidFill>
        </p:grpSpPr>
        <p:sp>
          <p:nvSpPr>
            <p:cNvPr id="333" name="Circle: Hollow 332">
              <a:extLst>
                <a:ext uri="{FF2B5EF4-FFF2-40B4-BE49-F238E27FC236}">
                  <a16:creationId xmlns:a16="http://schemas.microsoft.com/office/drawing/2014/main" id="{54F110C4-E5D6-06AD-D7EA-F90CFB6D840D}"/>
                </a:ext>
              </a:extLst>
            </p:cNvPr>
            <p:cNvSpPr/>
            <p:nvPr/>
          </p:nvSpPr>
          <p:spPr bwMode="auto">
            <a:xfrm>
              <a:off x="5815908" y="5083636"/>
              <a:ext cx="612000" cy="612000"/>
            </a:xfrm>
            <a:prstGeom prst="donut">
              <a:avLst>
                <a:gd name="adj" fmla="val 4301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4" name="Circle: Hollow 333">
              <a:extLst>
                <a:ext uri="{FF2B5EF4-FFF2-40B4-BE49-F238E27FC236}">
                  <a16:creationId xmlns:a16="http://schemas.microsoft.com/office/drawing/2014/main" id="{A957F81B-0ED3-C7D3-6EBE-B63D79075FAD}"/>
                </a:ext>
              </a:extLst>
            </p:cNvPr>
            <p:cNvSpPr/>
            <p:nvPr/>
          </p:nvSpPr>
          <p:spPr bwMode="auto">
            <a:xfrm>
              <a:off x="7128368" y="4939636"/>
              <a:ext cx="756000" cy="756000"/>
            </a:xfrm>
            <a:prstGeom prst="donut">
              <a:avLst>
                <a:gd name="adj" fmla="val 4301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5" name="Trapezoid 334">
              <a:extLst>
                <a:ext uri="{FF2B5EF4-FFF2-40B4-BE49-F238E27FC236}">
                  <a16:creationId xmlns:a16="http://schemas.microsoft.com/office/drawing/2014/main" id="{D69B8C98-C905-B2C3-33CD-610FBFA3DDBE}"/>
                </a:ext>
              </a:extLst>
            </p:cNvPr>
            <p:cNvSpPr/>
            <p:nvPr/>
          </p:nvSpPr>
          <p:spPr bwMode="auto">
            <a:xfrm rot="10800000">
              <a:off x="6489933" y="4985144"/>
              <a:ext cx="702510" cy="46096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6" name="Block Arc 335">
              <a:extLst>
                <a:ext uri="{FF2B5EF4-FFF2-40B4-BE49-F238E27FC236}">
                  <a16:creationId xmlns:a16="http://schemas.microsoft.com/office/drawing/2014/main" id="{08003ECB-F631-DDA0-98C2-0FD1CBB663AA}"/>
                </a:ext>
              </a:extLst>
            </p:cNvPr>
            <p:cNvSpPr/>
            <p:nvPr/>
          </p:nvSpPr>
          <p:spPr bwMode="auto">
            <a:xfrm>
              <a:off x="5689587" y="4985053"/>
              <a:ext cx="828000" cy="828000"/>
            </a:xfrm>
            <a:prstGeom prst="blockArc">
              <a:avLst>
                <a:gd name="adj1" fmla="val 10891150"/>
                <a:gd name="adj2" fmla="val 89571"/>
                <a:gd name="adj3" fmla="val 808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7" name="Trapezoid 336">
              <a:extLst>
                <a:ext uri="{FF2B5EF4-FFF2-40B4-BE49-F238E27FC236}">
                  <a16:creationId xmlns:a16="http://schemas.microsoft.com/office/drawing/2014/main" id="{3CF16632-01C9-0602-621E-FE102DBA5CAB}"/>
                </a:ext>
              </a:extLst>
            </p:cNvPr>
            <p:cNvSpPr/>
            <p:nvPr/>
          </p:nvSpPr>
          <p:spPr bwMode="auto">
            <a:xfrm rot="10800000">
              <a:off x="5619684" y="4786675"/>
              <a:ext cx="1604818" cy="208483"/>
            </a:xfrm>
            <a:prstGeom prst="trapezoid">
              <a:avLst>
                <a:gd name="adj" fmla="val 3038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8" name="Trapezoid 337">
              <a:extLst>
                <a:ext uri="{FF2B5EF4-FFF2-40B4-BE49-F238E27FC236}">
                  <a16:creationId xmlns:a16="http://schemas.microsoft.com/office/drawing/2014/main" id="{373B6C30-29A8-E2B7-D22F-3A3E6C51555D}"/>
                </a:ext>
              </a:extLst>
            </p:cNvPr>
            <p:cNvSpPr/>
            <p:nvPr/>
          </p:nvSpPr>
          <p:spPr bwMode="auto">
            <a:xfrm>
              <a:off x="6156176" y="4592809"/>
              <a:ext cx="1762289" cy="371105"/>
            </a:xfrm>
            <a:prstGeom prst="trapezoid">
              <a:avLst>
                <a:gd name="adj" fmla="val 1555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9" name="Block Arc 338">
              <a:extLst>
                <a:ext uri="{FF2B5EF4-FFF2-40B4-BE49-F238E27FC236}">
                  <a16:creationId xmlns:a16="http://schemas.microsoft.com/office/drawing/2014/main" id="{F8CC0B03-B9F6-BC7E-8B50-500C02738EBC}"/>
                </a:ext>
              </a:extLst>
            </p:cNvPr>
            <p:cNvSpPr/>
            <p:nvPr/>
          </p:nvSpPr>
          <p:spPr bwMode="auto">
            <a:xfrm>
              <a:off x="7056053" y="4834932"/>
              <a:ext cx="900630" cy="864000"/>
            </a:xfrm>
            <a:prstGeom prst="blockArc">
              <a:avLst>
                <a:gd name="adj1" fmla="val 10891150"/>
                <a:gd name="adj2" fmla="val 89571"/>
                <a:gd name="adj3" fmla="val 808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0" name="Rectangle 339">
              <a:extLst>
                <a:ext uri="{FF2B5EF4-FFF2-40B4-BE49-F238E27FC236}">
                  <a16:creationId xmlns:a16="http://schemas.microsoft.com/office/drawing/2014/main" id="{C8637533-1A03-1E73-8B94-712C4D1C3CE8}"/>
                </a:ext>
              </a:extLst>
            </p:cNvPr>
            <p:cNvSpPr/>
            <p:nvPr/>
          </p:nvSpPr>
          <p:spPr bwMode="auto">
            <a:xfrm>
              <a:off x="6919690" y="4034593"/>
              <a:ext cx="828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1" name="Rectangle 340">
              <a:extLst>
                <a:ext uri="{FF2B5EF4-FFF2-40B4-BE49-F238E27FC236}">
                  <a16:creationId xmlns:a16="http://schemas.microsoft.com/office/drawing/2014/main" id="{CAA52E24-E60E-4104-2640-3AE3B78543F0}"/>
                </a:ext>
              </a:extLst>
            </p:cNvPr>
            <p:cNvSpPr/>
            <p:nvPr/>
          </p:nvSpPr>
          <p:spPr bwMode="auto">
            <a:xfrm rot="4797776">
              <a:off x="7471839" y="4349059"/>
              <a:ext cx="61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2" name="Rectangle 341">
              <a:extLst>
                <a:ext uri="{FF2B5EF4-FFF2-40B4-BE49-F238E27FC236}">
                  <a16:creationId xmlns:a16="http://schemas.microsoft.com/office/drawing/2014/main" id="{E273156B-1CE6-E3FB-C062-EBDC58467C61}"/>
                </a:ext>
              </a:extLst>
            </p:cNvPr>
            <p:cNvSpPr/>
            <p:nvPr/>
          </p:nvSpPr>
          <p:spPr bwMode="auto">
            <a:xfrm rot="16802224" flipH="1">
              <a:off x="6572863" y="4349059"/>
              <a:ext cx="61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3" name="Trapezoid 342">
              <a:extLst>
                <a:ext uri="{FF2B5EF4-FFF2-40B4-BE49-F238E27FC236}">
                  <a16:creationId xmlns:a16="http://schemas.microsoft.com/office/drawing/2014/main" id="{60B3DC2B-84BC-CE0D-EA31-D0010E1E0D1A}"/>
                </a:ext>
              </a:extLst>
            </p:cNvPr>
            <p:cNvSpPr/>
            <p:nvPr/>
          </p:nvSpPr>
          <p:spPr bwMode="auto">
            <a:xfrm>
              <a:off x="6804248" y="4494709"/>
              <a:ext cx="1030777" cy="145099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46336D13-A82F-6C0B-8D79-84DC9BF4CE67}"/>
                </a:ext>
              </a:extLst>
            </p:cNvPr>
            <p:cNvSpPr/>
            <p:nvPr/>
          </p:nvSpPr>
          <p:spPr bwMode="auto">
            <a:xfrm rot="16200000" flipH="1">
              <a:off x="7218368" y="4335788"/>
              <a:ext cx="61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5" name="Isosceles Triangle 344">
              <a:extLst>
                <a:ext uri="{FF2B5EF4-FFF2-40B4-BE49-F238E27FC236}">
                  <a16:creationId xmlns:a16="http://schemas.microsoft.com/office/drawing/2014/main" id="{D4BD6F2B-3145-E6D6-8FFC-D8AE5DED1EAA}"/>
                </a:ext>
              </a:extLst>
            </p:cNvPr>
            <p:cNvSpPr/>
            <p:nvPr/>
          </p:nvSpPr>
          <p:spPr bwMode="auto">
            <a:xfrm>
              <a:off x="5619683" y="4592809"/>
              <a:ext cx="1170695" cy="193866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77A0C5C-E55C-52A6-815D-57D567932113}"/>
              </a:ext>
            </a:extLst>
          </p:cNvPr>
          <p:cNvGrpSpPr>
            <a:grpSpLocks noChangeAspect="1"/>
          </p:cNvGrpSpPr>
          <p:nvPr/>
        </p:nvGrpSpPr>
        <p:grpSpPr>
          <a:xfrm>
            <a:off x="8403321" y="1599937"/>
            <a:ext cx="907866" cy="376178"/>
            <a:chOff x="1006823" y="4356406"/>
            <a:chExt cx="4429116" cy="1835222"/>
          </a:xfrm>
          <a:solidFill>
            <a:srgbClr val="007AC2"/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0003AF5-35F5-561A-AF1E-F05DCC81A214}"/>
                </a:ext>
              </a:extLst>
            </p:cNvPr>
            <p:cNvSpPr/>
            <p:nvPr/>
          </p:nvSpPr>
          <p:spPr bwMode="auto">
            <a:xfrm>
              <a:off x="1025613" y="5398677"/>
              <a:ext cx="3284084" cy="161589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Trapezoid 16">
              <a:extLst>
                <a:ext uri="{FF2B5EF4-FFF2-40B4-BE49-F238E27FC236}">
                  <a16:creationId xmlns:a16="http://schemas.microsoft.com/office/drawing/2014/main" id="{44332586-24F0-1491-D4A4-93BB8284D3C5}"/>
                </a:ext>
              </a:extLst>
            </p:cNvPr>
            <p:cNvSpPr/>
            <p:nvPr/>
          </p:nvSpPr>
          <p:spPr bwMode="auto">
            <a:xfrm rot="10800000">
              <a:off x="2267744" y="5552183"/>
              <a:ext cx="1329326" cy="288730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L-Shape 17">
              <a:extLst>
                <a:ext uri="{FF2B5EF4-FFF2-40B4-BE49-F238E27FC236}">
                  <a16:creationId xmlns:a16="http://schemas.microsoft.com/office/drawing/2014/main" id="{AB6450FC-772D-818C-CE78-E1C5F5A48482}"/>
                </a:ext>
              </a:extLst>
            </p:cNvPr>
            <p:cNvSpPr/>
            <p:nvPr/>
          </p:nvSpPr>
          <p:spPr bwMode="auto">
            <a:xfrm flipH="1">
              <a:off x="1006823" y="5398677"/>
              <a:ext cx="45719" cy="400211"/>
            </a:xfrm>
            <a:prstGeom prst="corner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819934D-72B4-3911-1181-620CFCC681A8}"/>
                </a:ext>
              </a:extLst>
            </p:cNvPr>
            <p:cNvSpPr/>
            <p:nvPr/>
          </p:nvSpPr>
          <p:spPr bwMode="auto">
            <a:xfrm>
              <a:off x="4354214" y="4512648"/>
              <a:ext cx="526597" cy="59902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Trapezoid 37">
              <a:extLst>
                <a:ext uri="{FF2B5EF4-FFF2-40B4-BE49-F238E27FC236}">
                  <a16:creationId xmlns:a16="http://schemas.microsoft.com/office/drawing/2014/main" id="{BDF8DDBB-9907-1CF8-D051-DAC1D08E5733}"/>
                </a:ext>
              </a:extLst>
            </p:cNvPr>
            <p:cNvSpPr/>
            <p:nvPr/>
          </p:nvSpPr>
          <p:spPr bwMode="auto">
            <a:xfrm>
              <a:off x="4354214" y="4356406"/>
              <a:ext cx="877775" cy="125537"/>
            </a:xfrm>
            <a:custGeom>
              <a:avLst/>
              <a:gdLst>
                <a:gd name="connsiteX0" fmla="*/ 0 w 853278"/>
                <a:gd name="connsiteY0" fmla="*/ 148501 h 148501"/>
                <a:gd name="connsiteX1" fmla="*/ 37125 w 853278"/>
                <a:gd name="connsiteY1" fmla="*/ 0 h 148501"/>
                <a:gd name="connsiteX2" fmla="*/ 81615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8595 w 861873"/>
                <a:gd name="connsiteY0" fmla="*/ 148501 h 148501"/>
                <a:gd name="connsiteX1" fmla="*/ 0 w 861873"/>
                <a:gd name="connsiteY1" fmla="*/ 15240 h 148501"/>
                <a:gd name="connsiteX2" fmla="*/ 824748 w 861873"/>
                <a:gd name="connsiteY2" fmla="*/ 0 h 148501"/>
                <a:gd name="connsiteX3" fmla="*/ 861873 w 861873"/>
                <a:gd name="connsiteY3" fmla="*/ 148501 h 148501"/>
                <a:gd name="connsiteX4" fmla="*/ 8595 w 861873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81615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488493 w 853278"/>
                <a:gd name="connsiteY2" fmla="*/ 762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  <a:gd name="connsiteX0" fmla="*/ 0 w 853278"/>
                <a:gd name="connsiteY0" fmla="*/ 148501 h 148501"/>
                <a:gd name="connsiteX1" fmla="*/ 14265 w 853278"/>
                <a:gd name="connsiteY1" fmla="*/ 0 h 148501"/>
                <a:gd name="connsiteX2" fmla="*/ 465633 w 853278"/>
                <a:gd name="connsiteY2" fmla="*/ 0 h 148501"/>
                <a:gd name="connsiteX3" fmla="*/ 853278 w 853278"/>
                <a:gd name="connsiteY3" fmla="*/ 148501 h 148501"/>
                <a:gd name="connsiteX4" fmla="*/ 0 w 853278"/>
                <a:gd name="connsiteY4" fmla="*/ 148501 h 14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278" h="148501">
                  <a:moveTo>
                    <a:pt x="0" y="148501"/>
                  </a:moveTo>
                  <a:lnTo>
                    <a:pt x="14265" y="0"/>
                  </a:lnTo>
                  <a:lnTo>
                    <a:pt x="465633" y="0"/>
                  </a:lnTo>
                  <a:lnTo>
                    <a:pt x="853278" y="148501"/>
                  </a:lnTo>
                  <a:lnTo>
                    <a:pt x="0" y="148501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AE444B2-C07E-8F74-DF18-D6A55307BB2B}"/>
                </a:ext>
              </a:extLst>
            </p:cNvPr>
            <p:cNvSpPr/>
            <p:nvPr/>
          </p:nvSpPr>
          <p:spPr bwMode="auto">
            <a:xfrm>
              <a:off x="5203691" y="5852955"/>
              <a:ext cx="232248" cy="4572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07E30EF-B17A-D6EA-193B-C3F7498BE9C2}"/>
                </a:ext>
              </a:extLst>
            </p:cNvPr>
            <p:cNvSpPr/>
            <p:nvPr/>
          </p:nvSpPr>
          <p:spPr bwMode="auto">
            <a:xfrm>
              <a:off x="5132268" y="5103667"/>
              <a:ext cx="288000" cy="608625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ACE34D9-D35E-979A-1C72-A6A21CEA8698}"/>
                </a:ext>
              </a:extLst>
            </p:cNvPr>
            <p:cNvSpPr/>
            <p:nvPr/>
          </p:nvSpPr>
          <p:spPr bwMode="auto">
            <a:xfrm>
              <a:off x="5387667" y="5111285"/>
              <a:ext cx="45719" cy="778581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E6F2D56-111F-65E6-82B1-2E2678F6DDAC}"/>
                </a:ext>
              </a:extLst>
            </p:cNvPr>
            <p:cNvSpPr/>
            <p:nvPr/>
          </p:nvSpPr>
          <p:spPr bwMode="auto">
            <a:xfrm>
              <a:off x="5207848" y="5759764"/>
              <a:ext cx="213853" cy="45719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9F264D0-FDF2-C8DB-FD22-B950BF523459}"/>
                </a:ext>
              </a:extLst>
            </p:cNvPr>
            <p:cNvSpPr/>
            <p:nvPr/>
          </p:nvSpPr>
          <p:spPr bwMode="auto">
            <a:xfrm>
              <a:off x="4880230" y="4512258"/>
              <a:ext cx="43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DEC4C0DF-51C5-65BF-731C-4308B5513763}"/>
                </a:ext>
              </a:extLst>
            </p:cNvPr>
            <p:cNvSpPr/>
            <p:nvPr/>
          </p:nvSpPr>
          <p:spPr bwMode="auto">
            <a:xfrm rot="4797776">
              <a:off x="5056950" y="4803017"/>
              <a:ext cx="612000" cy="36000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E45C241-4A30-498B-CF4F-24D5C2B22C26}"/>
                </a:ext>
              </a:extLst>
            </p:cNvPr>
            <p:cNvSpPr/>
            <p:nvPr/>
          </p:nvSpPr>
          <p:spPr bwMode="auto">
            <a:xfrm>
              <a:off x="5203691" y="5101318"/>
              <a:ext cx="45719" cy="778581"/>
            </a:xfrm>
            <a:prstGeom prst="rect">
              <a:avLst/>
            </a:prstGeom>
            <a:grp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Block Arc 27">
              <a:extLst>
                <a:ext uri="{FF2B5EF4-FFF2-40B4-BE49-F238E27FC236}">
                  <a16:creationId xmlns:a16="http://schemas.microsoft.com/office/drawing/2014/main" id="{BCF499F4-E59E-5DF3-2CE0-17CC7060AFFB}"/>
                </a:ext>
              </a:extLst>
            </p:cNvPr>
            <p:cNvSpPr/>
            <p:nvPr/>
          </p:nvSpPr>
          <p:spPr bwMode="auto">
            <a:xfrm>
              <a:off x="4572776" y="5564212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99D488-769F-3BD2-B28D-C3E00C03146C}"/>
                </a:ext>
              </a:extLst>
            </p:cNvPr>
            <p:cNvSpPr/>
            <p:nvPr/>
          </p:nvSpPr>
          <p:spPr bwMode="auto">
            <a:xfrm>
              <a:off x="4357376" y="5104773"/>
              <a:ext cx="778274" cy="505608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Trapezoid 29">
              <a:extLst>
                <a:ext uri="{FF2B5EF4-FFF2-40B4-BE49-F238E27FC236}">
                  <a16:creationId xmlns:a16="http://schemas.microsoft.com/office/drawing/2014/main" id="{0C78DE00-C6F3-EDBD-3C1F-CA16B4E8B48C}"/>
                </a:ext>
              </a:extLst>
            </p:cNvPr>
            <p:cNvSpPr/>
            <p:nvPr/>
          </p:nvSpPr>
          <p:spPr bwMode="auto">
            <a:xfrm rot="10800000">
              <a:off x="4517375" y="5543460"/>
              <a:ext cx="168825" cy="11741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Circle: Hollow 30">
              <a:extLst>
                <a:ext uri="{FF2B5EF4-FFF2-40B4-BE49-F238E27FC236}">
                  <a16:creationId xmlns:a16="http://schemas.microsoft.com/office/drawing/2014/main" id="{2CD1E17B-631B-AAB9-8988-75ADE3230FB5}"/>
                </a:ext>
              </a:extLst>
            </p:cNvPr>
            <p:cNvSpPr/>
            <p:nvPr/>
          </p:nvSpPr>
          <p:spPr bwMode="auto">
            <a:xfrm>
              <a:off x="4635990" y="5651628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id="{0DD83A84-3ECD-9F3F-B9F6-AA29E307EA05}"/>
                </a:ext>
              </a:extLst>
            </p:cNvPr>
            <p:cNvSpPr/>
            <p:nvPr/>
          </p:nvSpPr>
          <p:spPr bwMode="auto">
            <a:xfrm>
              <a:off x="4851990" y="5867628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7" name="Flowchart: Delay 226">
              <a:extLst>
                <a:ext uri="{FF2B5EF4-FFF2-40B4-BE49-F238E27FC236}">
                  <a16:creationId xmlns:a16="http://schemas.microsoft.com/office/drawing/2014/main" id="{6284F2ED-B6E8-C79E-AC60-2E3EB9CCE5D4}"/>
                </a:ext>
              </a:extLst>
            </p:cNvPr>
            <p:cNvSpPr/>
            <p:nvPr/>
          </p:nvSpPr>
          <p:spPr bwMode="auto">
            <a:xfrm>
              <a:off x="4027531" y="5553173"/>
              <a:ext cx="198999" cy="357772"/>
            </a:xfrm>
            <a:prstGeom prst="flowChartDelay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Flowchart: Delay 227">
              <a:extLst>
                <a:ext uri="{FF2B5EF4-FFF2-40B4-BE49-F238E27FC236}">
                  <a16:creationId xmlns:a16="http://schemas.microsoft.com/office/drawing/2014/main" id="{753DD32E-5E9A-D623-5927-BC50F7628ED7}"/>
                </a:ext>
              </a:extLst>
            </p:cNvPr>
            <p:cNvSpPr/>
            <p:nvPr/>
          </p:nvSpPr>
          <p:spPr bwMode="auto">
            <a:xfrm rot="10800000">
              <a:off x="3485135" y="5555009"/>
              <a:ext cx="215079" cy="360222"/>
            </a:xfrm>
            <a:prstGeom prst="flowChartDelay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3A745AC3-C311-D395-454F-263F1F8E17F2}"/>
                </a:ext>
              </a:extLst>
            </p:cNvPr>
            <p:cNvSpPr/>
            <p:nvPr/>
          </p:nvSpPr>
          <p:spPr bwMode="auto">
            <a:xfrm>
              <a:off x="3727916" y="5553173"/>
              <a:ext cx="270739" cy="360222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6278AF0B-A4BD-2448-CDD3-ED71AEE8ECF1}"/>
                </a:ext>
              </a:extLst>
            </p:cNvPr>
            <p:cNvSpPr/>
            <p:nvPr/>
          </p:nvSpPr>
          <p:spPr bwMode="auto">
            <a:xfrm>
              <a:off x="4185794" y="5606416"/>
              <a:ext cx="427718" cy="23450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1" name="Block Arc 230">
              <a:extLst>
                <a:ext uri="{FF2B5EF4-FFF2-40B4-BE49-F238E27FC236}">
                  <a16:creationId xmlns:a16="http://schemas.microsoft.com/office/drawing/2014/main" id="{9C871839-9BE4-32B4-660B-5AC6079BB59E}"/>
                </a:ext>
              </a:extLst>
            </p:cNvPr>
            <p:cNvSpPr/>
            <p:nvPr/>
          </p:nvSpPr>
          <p:spPr bwMode="auto">
            <a:xfrm>
              <a:off x="1136394" y="5559808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2" name="Block Arc 231">
              <a:extLst>
                <a:ext uri="{FF2B5EF4-FFF2-40B4-BE49-F238E27FC236}">
                  <a16:creationId xmlns:a16="http://schemas.microsoft.com/office/drawing/2014/main" id="{ABC0DDC4-836A-6DFB-9690-140E1EBA3E1B}"/>
                </a:ext>
              </a:extLst>
            </p:cNvPr>
            <p:cNvSpPr/>
            <p:nvPr/>
          </p:nvSpPr>
          <p:spPr bwMode="auto">
            <a:xfrm>
              <a:off x="1713231" y="5552183"/>
              <a:ext cx="635072" cy="357772"/>
            </a:xfrm>
            <a:prstGeom prst="blockArc">
              <a:avLst>
                <a:gd name="adj1" fmla="val 10800000"/>
                <a:gd name="adj2" fmla="val 21478112"/>
                <a:gd name="adj3" fmla="val 1736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3" name="Circle: Hollow 232">
              <a:extLst>
                <a:ext uri="{FF2B5EF4-FFF2-40B4-BE49-F238E27FC236}">
                  <a16:creationId xmlns:a16="http://schemas.microsoft.com/office/drawing/2014/main" id="{50762C27-8D00-38C3-8C53-1BD50ABC646A}"/>
                </a:ext>
              </a:extLst>
            </p:cNvPr>
            <p:cNvSpPr/>
            <p:nvPr/>
          </p:nvSpPr>
          <p:spPr bwMode="auto">
            <a:xfrm>
              <a:off x="1190799" y="5647580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FD9D41F7-171C-5A7D-B8C2-D3FCEFBE7347}"/>
                </a:ext>
              </a:extLst>
            </p:cNvPr>
            <p:cNvSpPr/>
            <p:nvPr/>
          </p:nvSpPr>
          <p:spPr bwMode="auto">
            <a:xfrm>
              <a:off x="1406799" y="5863580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Circle: Hollow 234">
              <a:extLst>
                <a:ext uri="{FF2B5EF4-FFF2-40B4-BE49-F238E27FC236}">
                  <a16:creationId xmlns:a16="http://schemas.microsoft.com/office/drawing/2014/main" id="{8F10A954-BEE2-4C38-40C8-B6B17B76B4D6}"/>
                </a:ext>
              </a:extLst>
            </p:cNvPr>
            <p:cNvSpPr/>
            <p:nvPr/>
          </p:nvSpPr>
          <p:spPr bwMode="auto">
            <a:xfrm>
              <a:off x="1764920" y="5639955"/>
              <a:ext cx="540000" cy="540000"/>
            </a:xfrm>
            <a:prstGeom prst="donut">
              <a:avLst>
                <a:gd name="adj" fmla="val 19565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E796351F-1761-A8AD-50D6-D10F9340CBFB}"/>
                </a:ext>
              </a:extLst>
            </p:cNvPr>
            <p:cNvSpPr/>
            <p:nvPr/>
          </p:nvSpPr>
          <p:spPr bwMode="auto">
            <a:xfrm>
              <a:off x="1980920" y="5855955"/>
              <a:ext cx="108000" cy="1080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Trapezoid 236">
              <a:extLst>
                <a:ext uri="{FF2B5EF4-FFF2-40B4-BE49-F238E27FC236}">
                  <a16:creationId xmlns:a16="http://schemas.microsoft.com/office/drawing/2014/main" id="{9161EEF2-9171-8378-638E-A4B9263A3D23}"/>
                </a:ext>
              </a:extLst>
            </p:cNvPr>
            <p:cNvSpPr/>
            <p:nvPr/>
          </p:nvSpPr>
          <p:spPr bwMode="auto">
            <a:xfrm rot="10800000">
              <a:off x="1100272" y="5522464"/>
              <a:ext cx="1329326" cy="114643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8" name="Trapezoid 237">
              <a:extLst>
                <a:ext uri="{FF2B5EF4-FFF2-40B4-BE49-F238E27FC236}">
                  <a16:creationId xmlns:a16="http://schemas.microsoft.com/office/drawing/2014/main" id="{9626BF00-5F6B-3977-6536-B1B55465B955}"/>
                </a:ext>
              </a:extLst>
            </p:cNvPr>
            <p:cNvSpPr/>
            <p:nvPr/>
          </p:nvSpPr>
          <p:spPr bwMode="auto">
            <a:xfrm rot="10800000">
              <a:off x="1029729" y="5552821"/>
              <a:ext cx="160450" cy="168575"/>
            </a:xfrm>
            <a:prstGeom prst="trapezoid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F8BDFB9B-6915-DC21-3654-A11DF8110829}"/>
                </a:ext>
              </a:extLst>
            </p:cNvPr>
            <p:cNvSpPr/>
            <p:nvPr/>
          </p:nvSpPr>
          <p:spPr bwMode="auto">
            <a:xfrm>
              <a:off x="1844106" y="4636536"/>
              <a:ext cx="2154549" cy="391197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0" name="Trapezoid 239">
              <a:extLst>
                <a:ext uri="{FF2B5EF4-FFF2-40B4-BE49-F238E27FC236}">
                  <a16:creationId xmlns:a16="http://schemas.microsoft.com/office/drawing/2014/main" id="{73E4CCC7-A2A8-0A69-9BFB-C188855F083A}"/>
                </a:ext>
              </a:extLst>
            </p:cNvPr>
            <p:cNvSpPr/>
            <p:nvPr/>
          </p:nvSpPr>
          <p:spPr bwMode="auto">
            <a:xfrm rot="10800000">
              <a:off x="1331640" y="5009410"/>
              <a:ext cx="2667015" cy="367459"/>
            </a:xfrm>
            <a:prstGeom prst="trapezoid">
              <a:avLst>
                <a:gd name="adj" fmla="val 79508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1" name="Right Triangle 240">
              <a:extLst>
                <a:ext uri="{FF2B5EF4-FFF2-40B4-BE49-F238E27FC236}">
                  <a16:creationId xmlns:a16="http://schemas.microsoft.com/office/drawing/2014/main" id="{AF35B603-2BEF-C6D0-6C14-67689541D152}"/>
                </a:ext>
              </a:extLst>
            </p:cNvPr>
            <p:cNvSpPr/>
            <p:nvPr/>
          </p:nvSpPr>
          <p:spPr bwMode="auto">
            <a:xfrm flipH="1">
              <a:off x="1331639" y="4636537"/>
              <a:ext cx="512464" cy="391195"/>
            </a:xfrm>
            <a:prstGeom prst="rt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C79EAE51-F8F7-C275-D4E5-4D29BEE70DC4}"/>
                </a:ext>
              </a:extLst>
            </p:cNvPr>
            <p:cNvSpPr/>
            <p:nvPr/>
          </p:nvSpPr>
          <p:spPr bwMode="auto">
            <a:xfrm>
              <a:off x="2767166" y="4433290"/>
              <a:ext cx="108000" cy="108000"/>
            </a:xfrm>
            <a:prstGeom prst="ellipse">
              <a:avLst/>
            </a:prstGeom>
            <a:grpFill/>
            <a:ln w="2857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0DC9C632-081B-C0FD-FDA5-9823FF538E99}"/>
                </a:ext>
              </a:extLst>
            </p:cNvPr>
            <p:cNvSpPr/>
            <p:nvPr/>
          </p:nvSpPr>
          <p:spPr bwMode="auto">
            <a:xfrm rot="3457922">
              <a:off x="2806976" y="4523530"/>
              <a:ext cx="128562" cy="71945"/>
            </a:xfrm>
            <a:prstGeom prst="ellipse">
              <a:avLst/>
            </a:prstGeom>
            <a:grpFill/>
            <a:ln w="2857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22571628-1A53-C930-9A91-AD73CCEC73EC}"/>
                </a:ext>
              </a:extLst>
            </p:cNvPr>
            <p:cNvSpPr/>
            <p:nvPr/>
          </p:nvSpPr>
          <p:spPr bwMode="auto">
            <a:xfrm rot="3457922">
              <a:off x="2854500" y="4605036"/>
              <a:ext cx="128562" cy="71945"/>
            </a:xfrm>
            <a:prstGeom prst="ellipse">
              <a:avLst/>
            </a:prstGeom>
            <a:grpFill/>
            <a:ln w="2857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0B592362-706C-18F2-49F4-28816D06AC5A}"/>
                </a:ext>
              </a:extLst>
            </p:cNvPr>
            <p:cNvSpPr/>
            <p:nvPr/>
          </p:nvSpPr>
          <p:spPr bwMode="auto">
            <a:xfrm rot="3457922">
              <a:off x="2915432" y="4694984"/>
              <a:ext cx="128562" cy="71945"/>
            </a:xfrm>
            <a:prstGeom prst="ellipse">
              <a:avLst/>
            </a:prstGeom>
            <a:grpFill/>
            <a:ln w="2857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A1BDC425-A835-5EAD-820B-7A4CCC489E07}"/>
                </a:ext>
              </a:extLst>
            </p:cNvPr>
            <p:cNvSpPr/>
            <p:nvPr/>
          </p:nvSpPr>
          <p:spPr bwMode="auto">
            <a:xfrm rot="3457922">
              <a:off x="2966918" y="4762665"/>
              <a:ext cx="128562" cy="71945"/>
            </a:xfrm>
            <a:prstGeom prst="ellipse">
              <a:avLst/>
            </a:prstGeom>
            <a:grpFill/>
            <a:ln w="2857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3A07C611-AA83-AD3D-F964-1D77C56C6460}"/>
                </a:ext>
              </a:extLst>
            </p:cNvPr>
            <p:cNvSpPr/>
            <p:nvPr/>
          </p:nvSpPr>
          <p:spPr bwMode="auto">
            <a:xfrm>
              <a:off x="3031199" y="4829501"/>
              <a:ext cx="108000" cy="108000"/>
            </a:xfrm>
            <a:prstGeom prst="ellipse">
              <a:avLst/>
            </a:prstGeom>
            <a:grpFill/>
            <a:ln w="12700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776934CB-D272-FE35-D8E6-2BADA12EFFA8}"/>
                </a:ext>
              </a:extLst>
            </p:cNvPr>
            <p:cNvSpPr/>
            <p:nvPr/>
          </p:nvSpPr>
          <p:spPr bwMode="auto">
            <a:xfrm>
              <a:off x="1298568" y="4533742"/>
              <a:ext cx="1554796" cy="862088"/>
            </a:xfrm>
            <a:custGeom>
              <a:avLst/>
              <a:gdLst>
                <a:gd name="connsiteX0" fmla="*/ 0 w 992777"/>
                <a:gd name="connsiteY0" fmla="*/ 862149 h 862149"/>
                <a:gd name="connsiteX1" fmla="*/ 853440 w 992777"/>
                <a:gd name="connsiteY1" fmla="*/ 191589 h 862149"/>
                <a:gd name="connsiteX2" fmla="*/ 923109 w 992777"/>
                <a:gd name="connsiteY2" fmla="*/ 0 h 862149"/>
                <a:gd name="connsiteX3" fmla="*/ 992777 w 992777"/>
                <a:gd name="connsiteY3" fmla="*/ 8709 h 862149"/>
                <a:gd name="connsiteX4" fmla="*/ 984069 w 992777"/>
                <a:gd name="connsiteY4" fmla="*/ 252549 h 862149"/>
                <a:gd name="connsiteX5" fmla="*/ 400594 w 992777"/>
                <a:gd name="connsiteY5" fmla="*/ 766355 h 862149"/>
                <a:gd name="connsiteX6" fmla="*/ 487680 w 992777"/>
                <a:gd name="connsiteY6" fmla="*/ 862149 h 862149"/>
                <a:gd name="connsiteX7" fmla="*/ 0 w 992777"/>
                <a:gd name="connsiteY7" fmla="*/ 862149 h 862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92777" h="862149">
                  <a:moveTo>
                    <a:pt x="0" y="862149"/>
                  </a:moveTo>
                  <a:lnTo>
                    <a:pt x="853440" y="191589"/>
                  </a:lnTo>
                  <a:lnTo>
                    <a:pt x="923109" y="0"/>
                  </a:lnTo>
                  <a:lnTo>
                    <a:pt x="992777" y="8709"/>
                  </a:lnTo>
                  <a:lnTo>
                    <a:pt x="984069" y="252549"/>
                  </a:lnTo>
                  <a:lnTo>
                    <a:pt x="400594" y="766355"/>
                  </a:lnTo>
                  <a:lnTo>
                    <a:pt x="487680" y="862149"/>
                  </a:lnTo>
                  <a:lnTo>
                    <a:pt x="0" y="862149"/>
                  </a:lnTo>
                  <a:close/>
                </a:path>
              </a:pathLst>
            </a:custGeom>
            <a:grpFill/>
            <a:ln w="12700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3600" tIns="46800" rIns="936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12454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CD1B2-F340-A957-6AC5-8B568934B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500" dirty="0"/>
              <a:t>De Living Labs</a:t>
            </a:r>
          </a:p>
        </p:txBody>
      </p:sp>
      <p:pic>
        <p:nvPicPr>
          <p:cNvPr id="1028" name="Picture 4" descr="Niko - SDK Vastgoed">
            <a:extLst>
              <a:ext uri="{FF2B5EF4-FFF2-40B4-BE49-F238E27FC236}">
                <a16:creationId xmlns:a16="http://schemas.microsoft.com/office/drawing/2014/main" id="{6A6B5104-5FE8-5745-9C02-95380AF83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80" y="2860927"/>
            <a:ext cx="3059404" cy="3599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5C0ACB5-920E-DF10-A32C-9D0B3B4BBAC2}"/>
              </a:ext>
            </a:extLst>
          </p:cNvPr>
          <p:cNvSpPr/>
          <p:nvPr/>
        </p:nvSpPr>
        <p:spPr>
          <a:xfrm>
            <a:off x="452582" y="1163782"/>
            <a:ext cx="3600000" cy="15055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l-NL" sz="1800" dirty="0"/>
              <a:t>LL Toren Niko, Eindhov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1800" dirty="0"/>
              <a:t>Inzet </a:t>
            </a:r>
            <a:r>
              <a:rPr lang="nl-NL" sz="1800" dirty="0" err="1"/>
              <a:t>bouwhub</a:t>
            </a:r>
            <a:endParaRPr lang="nl-NL" sz="1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l-NL" sz="1800" dirty="0"/>
              <a:t>Bouwpersone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E0B6B04-846E-C91C-F638-71575DCE74C0}"/>
              </a:ext>
            </a:extLst>
          </p:cNvPr>
          <p:cNvSpPr/>
          <p:nvPr/>
        </p:nvSpPr>
        <p:spPr>
          <a:xfrm>
            <a:off x="8271164" y="1161502"/>
            <a:ext cx="3600000" cy="15055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l-NL" sz="1800" dirty="0"/>
              <a:t>LL Katendre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Gebiedsontwikk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Nu uitbreiding naar andere bouwprojecten t.b.v. emissiemonitoring</a:t>
            </a:r>
          </a:p>
          <a:p>
            <a:endParaRPr lang="nl-NL" sz="1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823029-8C02-76A4-5146-EB82702CA210}"/>
              </a:ext>
            </a:extLst>
          </p:cNvPr>
          <p:cNvSpPr/>
          <p:nvPr/>
        </p:nvSpPr>
        <p:spPr>
          <a:xfrm>
            <a:off x="4361873" y="1161502"/>
            <a:ext cx="3600000" cy="15055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l-NL" sz="1800" dirty="0"/>
              <a:t>LL GW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Mobiele werktu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Energietransi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Aan- en afvoerlogisti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800" dirty="0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0539AC05-3402-CC2C-4F5A-9C45533680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58216" y="2856367"/>
            <a:ext cx="3078742" cy="2053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Wonen in Rotterdam | Jouw gids voor je huizenjacht in Rotterdam">
            <a:extLst>
              <a:ext uri="{FF2B5EF4-FFF2-40B4-BE49-F238E27FC236}">
                <a16:creationId xmlns:a16="http://schemas.microsoft.com/office/drawing/2014/main" id="{7232BC66-5F74-7026-0A16-0979951D1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086" y="2856367"/>
            <a:ext cx="3074156" cy="217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13659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4C3D1-2613-FD06-6F71-77E91A910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iving Lab Toren Nik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3BFDE4-BC8B-80E7-9DE8-211FA71709DD}"/>
              </a:ext>
            </a:extLst>
          </p:cNvPr>
          <p:cNvSpPr txBox="1">
            <a:spLocks/>
          </p:cNvSpPr>
          <p:nvPr/>
        </p:nvSpPr>
        <p:spPr>
          <a:xfrm>
            <a:off x="527188" y="1412875"/>
            <a:ext cx="4473437" cy="5113338"/>
          </a:xfrm>
          <a:prstGeom prst="rect">
            <a:avLst/>
          </a:prstGeom>
        </p:spPr>
        <p:txBody>
          <a:bodyPr/>
          <a:lstStyle>
            <a:lvl1pPr marL="228646" indent="-228646" algn="l" defTabSz="91458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801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937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143229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600520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057811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5103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394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686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977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nl-NL" dirty="0"/>
              <a:t>Afbouwfase woontoren Niko (Eindhoven)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Transporten tussen </a:t>
            </a:r>
            <a:r>
              <a:rPr lang="nl-NL" dirty="0" err="1"/>
              <a:t>bouwhub</a:t>
            </a:r>
            <a:r>
              <a:rPr lang="nl-NL" dirty="0"/>
              <a:t> (VW </a:t>
            </a:r>
            <a:r>
              <a:rPr lang="nl-NL" dirty="0" err="1"/>
              <a:t>Bouwhub</a:t>
            </a:r>
            <a:r>
              <a:rPr lang="nl-NL" dirty="0"/>
              <a:t> Eindhoven) en bouwplaats</a:t>
            </a:r>
          </a:p>
          <a:p>
            <a:pPr lvl="1" fontAlgn="auto">
              <a:spcAft>
                <a:spcPts val="0"/>
              </a:spcAft>
            </a:pPr>
            <a:endParaRPr lang="nl-NL" dirty="0"/>
          </a:p>
          <a:p>
            <a:pPr lvl="1" fontAlgn="auto">
              <a:spcAft>
                <a:spcPts val="0"/>
              </a:spcAft>
            </a:pPr>
            <a:r>
              <a:rPr lang="nl-NL" dirty="0" err="1"/>
              <a:t>Bouwplaatsmonitoring</a:t>
            </a:r>
            <a:r>
              <a:rPr lang="nl-NL" dirty="0"/>
              <a:t> middels camerasysteem</a:t>
            </a:r>
          </a:p>
          <a:p>
            <a:pPr lvl="2" fontAlgn="auto">
              <a:spcAft>
                <a:spcPts val="0"/>
              </a:spcAft>
            </a:pPr>
            <a:r>
              <a:rPr lang="nl-NL" dirty="0"/>
              <a:t>Welke vrachtwagens</a:t>
            </a:r>
          </a:p>
          <a:p>
            <a:pPr lvl="2" fontAlgn="auto">
              <a:spcAft>
                <a:spcPts val="0"/>
              </a:spcAft>
            </a:pPr>
            <a:r>
              <a:rPr lang="nl-NL" dirty="0"/>
              <a:t>Lostijden</a:t>
            </a:r>
          </a:p>
          <a:p>
            <a:pPr lvl="2" fontAlgn="auto">
              <a:spcAft>
                <a:spcPts val="0"/>
              </a:spcAft>
            </a:pPr>
            <a:r>
              <a:rPr lang="nl-NL" dirty="0"/>
              <a:t>Type lading</a:t>
            </a:r>
          </a:p>
          <a:p>
            <a:pPr lvl="1" fontAlgn="auto">
              <a:spcAft>
                <a:spcPts val="0"/>
              </a:spcAft>
            </a:pPr>
            <a:endParaRPr lang="nl-NL" dirty="0"/>
          </a:p>
          <a:p>
            <a:pPr lvl="1" fontAlgn="auto">
              <a:spcAft>
                <a:spcPts val="0"/>
              </a:spcAft>
            </a:pPr>
            <a:r>
              <a:rPr lang="nl-NL" dirty="0"/>
              <a:t>Mobiliteit bouwpersoneel </a:t>
            </a:r>
          </a:p>
        </p:txBody>
      </p:sp>
      <p:pic>
        <p:nvPicPr>
          <p:cNvPr id="4" name="Afbeelding 11" descr="Afbeelding met buitenshuis, gebouw, Landvoertuig, voertuig&#10;&#10;Automatisch gegenereerde beschrijving">
            <a:extLst>
              <a:ext uri="{FF2B5EF4-FFF2-40B4-BE49-F238E27FC236}">
                <a16:creationId xmlns:a16="http://schemas.microsoft.com/office/drawing/2014/main" id="{7572734D-C8C5-282B-D191-0CD57A6A7D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01"/>
          <a:stretch/>
        </p:blipFill>
        <p:spPr>
          <a:xfrm>
            <a:off x="5134390" y="1412875"/>
            <a:ext cx="3438715" cy="4016375"/>
          </a:xfrm>
          <a:prstGeom prst="rect">
            <a:avLst/>
          </a:prstGeom>
          <a:noFill/>
        </p:spPr>
      </p:pic>
      <p:pic>
        <p:nvPicPr>
          <p:cNvPr id="5" name="286c4945-ec7b-4a6e-8169-32584aeccadd" descr="Image">
            <a:extLst>
              <a:ext uri="{FF2B5EF4-FFF2-40B4-BE49-F238E27FC236}">
                <a16:creationId xmlns:a16="http://schemas.microsoft.com/office/drawing/2014/main" id="{BBDD527C-28E3-A924-9124-07C410A806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54" b="30424"/>
          <a:stretch/>
        </p:blipFill>
        <p:spPr bwMode="auto">
          <a:xfrm>
            <a:off x="8706870" y="1412875"/>
            <a:ext cx="3415016" cy="32676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0263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4C3D1-2613-FD06-6F71-77E91A910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iving Lab GW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3BFDE4-BC8B-80E7-9DE8-211FA71709DD}"/>
              </a:ext>
            </a:extLst>
          </p:cNvPr>
          <p:cNvSpPr txBox="1">
            <a:spLocks/>
          </p:cNvSpPr>
          <p:nvPr/>
        </p:nvSpPr>
        <p:spPr>
          <a:xfrm>
            <a:off x="527188" y="1412875"/>
            <a:ext cx="5806937" cy="5113338"/>
          </a:xfrm>
          <a:prstGeom prst="rect">
            <a:avLst/>
          </a:prstGeom>
        </p:spPr>
        <p:txBody>
          <a:bodyPr/>
          <a:lstStyle>
            <a:lvl1pPr marL="228646" indent="-228646" algn="l" defTabSz="91458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801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937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143229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600520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057811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5103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394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686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977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nl-NL" dirty="0"/>
              <a:t>Verschillende projecten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Dijkverzwaring Gorinchem – Waardenburg (mobiele werktuigen)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2 X 12 (2 sensorleveranciers, 12 stuks materieel)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Inzet elektrisch materieel 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Heijmans data aan- en afvoerlogistiek vanuit Supply Chain Portal (meerdere projecten)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85748A75-AD58-2AA3-A9FF-FACE7590D4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6508" y="1099403"/>
            <a:ext cx="4923704" cy="2697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D5A9E236-90A9-C7F7-2B85-6EB606A086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3924299"/>
            <a:ext cx="4925745" cy="2809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57490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24C3D1-2613-FD06-6F71-77E91A910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iving Lab Katendrech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3BFDE4-BC8B-80E7-9DE8-211FA71709DD}"/>
              </a:ext>
            </a:extLst>
          </p:cNvPr>
          <p:cNvSpPr txBox="1">
            <a:spLocks/>
          </p:cNvSpPr>
          <p:nvPr/>
        </p:nvSpPr>
        <p:spPr>
          <a:xfrm>
            <a:off x="527188" y="1412875"/>
            <a:ext cx="5910557" cy="5113338"/>
          </a:xfrm>
          <a:prstGeom prst="rect">
            <a:avLst/>
          </a:prstGeom>
        </p:spPr>
        <p:txBody>
          <a:bodyPr/>
          <a:lstStyle>
            <a:lvl1pPr marL="228646" indent="-228646" algn="l" defTabSz="914583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801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937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143229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600520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057811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5103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394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686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977" indent="-228646" algn="l" defTabSz="91458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nl-NL" dirty="0"/>
              <a:t>Katendrecht 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Samenwerkingsovereenkomst met ontwikkelaars</a:t>
            </a:r>
          </a:p>
          <a:p>
            <a:pPr marL="0" indent="0" fontAlgn="auto">
              <a:spcAft>
                <a:spcPts val="0"/>
              </a:spcAft>
              <a:buNone/>
            </a:pPr>
            <a:endParaRPr lang="nl-NL" dirty="0"/>
          </a:p>
          <a:p>
            <a:pPr fontAlgn="auto">
              <a:spcAft>
                <a:spcPts val="0"/>
              </a:spcAft>
            </a:pPr>
            <a:r>
              <a:rPr lang="nl-NL" dirty="0"/>
              <a:t>Dura Vermeer - 4 verschillende projecten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De Grote Beer, Capelle a/d IJssel (gebruik </a:t>
            </a:r>
            <a:r>
              <a:rPr lang="nl-NL" dirty="0" err="1"/>
              <a:t>bouwhub</a:t>
            </a:r>
            <a:r>
              <a:rPr lang="nl-NL" dirty="0"/>
              <a:t>)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Blaak 333, Rotterdam (sloop en nieuwbouw)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Strandeiland, Amsterdam (data materieel)</a:t>
            </a:r>
          </a:p>
          <a:p>
            <a:pPr lvl="1" fontAlgn="auto">
              <a:spcAft>
                <a:spcPts val="0"/>
              </a:spcAft>
            </a:pPr>
            <a:r>
              <a:rPr lang="nl-NL" dirty="0"/>
              <a:t>Asfaltering, Amsterdam (data materieel)</a:t>
            </a:r>
          </a:p>
          <a:p>
            <a:pPr lvl="1" fontAlgn="auto">
              <a:spcAft>
                <a:spcPts val="0"/>
              </a:spcAft>
            </a:pPr>
            <a:endParaRPr lang="nl-NL" dirty="0"/>
          </a:p>
        </p:txBody>
      </p:sp>
      <p:pic>
        <p:nvPicPr>
          <p:cNvPr id="4" name="Picture 3" descr="Wonen in Rotterdam | Jouw gids voor je huizenjacht in Rotterdam">
            <a:extLst>
              <a:ext uri="{FF2B5EF4-FFF2-40B4-BE49-F238E27FC236}">
                <a16:creationId xmlns:a16="http://schemas.microsoft.com/office/drawing/2014/main" id="{9C0A79D4-9F27-ABF9-D3FE-65E8FF7659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089" y="4111973"/>
            <a:ext cx="3887366" cy="274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lattegrond Katendrecht (met legenda)">
            <a:extLst>
              <a:ext uri="{FF2B5EF4-FFF2-40B4-BE49-F238E27FC236}">
                <a16:creationId xmlns:a16="http://schemas.microsoft.com/office/drawing/2014/main" id="{A9EC97BF-1C2C-E5B5-83EA-03990674AA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9726" y="1265289"/>
            <a:ext cx="5680092" cy="2626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1586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CD1B2-F340-A957-6AC5-8B568934B3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500"/>
              <a:t>Hoe gaan we te werk?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B1EDF6-60D9-0B6C-11B0-15473A7DD113}"/>
              </a:ext>
            </a:extLst>
          </p:cNvPr>
          <p:cNvSpPr txBox="1">
            <a:spLocks/>
          </p:cNvSpPr>
          <p:nvPr/>
        </p:nvSpPr>
        <p:spPr>
          <a:xfrm>
            <a:off x="828216" y="1467709"/>
            <a:ext cx="10737142" cy="5042406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4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20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8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97C141"/>
              </a:buClr>
              <a:buFont typeface="Arial" panose="020B0604020202020204" pitchFamily="34" charset="0"/>
              <a:buNone/>
              <a:defRPr sz="1600" kern="1200" baseline="0">
                <a:solidFill>
                  <a:srgbClr val="013A57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</a:pPr>
            <a:r>
              <a:rPr lang="nl-NL" sz="2000" b="1" dirty="0">
                <a:solidFill>
                  <a:schemeClr val="tx1"/>
                </a:solidFill>
              </a:rPr>
              <a:t>Verzamelen van </a:t>
            </a:r>
            <a:r>
              <a:rPr lang="nl-NL" sz="2000" b="1" dirty="0" err="1">
                <a:solidFill>
                  <a:schemeClr val="tx1"/>
                </a:solidFill>
              </a:rPr>
              <a:t>bouwlogistieke</a:t>
            </a:r>
            <a:r>
              <a:rPr lang="nl-NL" sz="2000" b="1" dirty="0">
                <a:solidFill>
                  <a:schemeClr val="tx1"/>
                </a:solidFill>
              </a:rPr>
              <a:t> data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 err="1">
                <a:solidFill>
                  <a:schemeClr val="tx1"/>
                </a:solidFill>
              </a:rPr>
              <a:t>Ritdata</a:t>
            </a:r>
            <a:endParaRPr lang="nl-NL" sz="2000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Zendingsdata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Brandstofdata</a:t>
            </a:r>
          </a:p>
          <a:p>
            <a:pPr>
              <a:lnSpc>
                <a:spcPts val="2200"/>
              </a:lnSpc>
            </a:pPr>
            <a:br>
              <a:rPr lang="nl-NL" sz="2000" b="1" dirty="0">
                <a:solidFill>
                  <a:schemeClr val="tx1"/>
                </a:solidFill>
              </a:rPr>
            </a:br>
            <a:r>
              <a:rPr lang="nl-NL" sz="2000" b="1" dirty="0">
                <a:solidFill>
                  <a:schemeClr val="tx1"/>
                </a:solidFill>
              </a:rPr>
              <a:t>Inzet mobiele werktuigen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Inzet, draaiuren,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Brandstof/energieverbruik</a:t>
            </a:r>
          </a:p>
          <a:p>
            <a:pPr>
              <a:lnSpc>
                <a:spcPts val="2200"/>
              </a:lnSpc>
            </a:pPr>
            <a:endParaRPr lang="nl-NL" sz="2000" b="1" dirty="0">
              <a:solidFill>
                <a:schemeClr val="tx1"/>
              </a:solidFill>
            </a:endParaRPr>
          </a:p>
          <a:p>
            <a:pPr>
              <a:lnSpc>
                <a:spcPts val="2200"/>
              </a:lnSpc>
            </a:pPr>
            <a:r>
              <a:rPr lang="nl-NL" sz="2000" b="1" dirty="0">
                <a:solidFill>
                  <a:schemeClr val="tx1"/>
                </a:solidFill>
              </a:rPr>
              <a:t>Analyses m.b.v. BigMile-</a:t>
            </a:r>
            <a:r>
              <a:rPr lang="nl-NL" sz="2000" b="1" dirty="0" err="1">
                <a:solidFill>
                  <a:schemeClr val="tx1"/>
                </a:solidFill>
              </a:rPr>
              <a:t>tooling</a:t>
            </a:r>
            <a:endParaRPr lang="nl-NL" sz="2000" b="1" dirty="0">
              <a:solidFill>
                <a:schemeClr val="tx1"/>
              </a:solidFill>
            </a:endParaRP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nl-NL" sz="2000" dirty="0">
                <a:solidFill>
                  <a:schemeClr val="tx1"/>
                </a:solidFill>
              </a:rPr>
              <a:t>CO</a:t>
            </a:r>
            <a:r>
              <a:rPr lang="nl-NL" sz="2000" baseline="-25000" dirty="0">
                <a:solidFill>
                  <a:schemeClr val="tx1"/>
                </a:solidFill>
              </a:rPr>
              <a:t>2</a:t>
            </a:r>
            <a:r>
              <a:rPr lang="nl-NL" sz="2000" dirty="0">
                <a:solidFill>
                  <a:schemeClr val="tx1"/>
                </a:solidFill>
              </a:rPr>
              <a:t> en </a:t>
            </a:r>
            <a:r>
              <a:rPr lang="nl-NL" sz="2000" dirty="0" err="1">
                <a:solidFill>
                  <a:schemeClr val="tx1"/>
                </a:solidFill>
              </a:rPr>
              <a:t>NO</a:t>
            </a:r>
            <a:r>
              <a:rPr lang="nl-NL" sz="2000" baseline="-25000" dirty="0" err="1">
                <a:solidFill>
                  <a:schemeClr val="tx1"/>
                </a:solidFill>
              </a:rPr>
              <a:t>x</a:t>
            </a:r>
            <a:r>
              <a:rPr lang="nl-NL" sz="2000" dirty="0">
                <a:solidFill>
                  <a:schemeClr val="tx1"/>
                </a:solidFill>
              </a:rPr>
              <a:t> berekenen en toewijzen aan activiteiten, </a:t>
            </a:r>
            <a:br>
              <a:rPr lang="nl-NL" sz="2000" dirty="0">
                <a:solidFill>
                  <a:schemeClr val="tx1"/>
                </a:solidFill>
              </a:rPr>
            </a:br>
            <a:r>
              <a:rPr lang="nl-NL" sz="2000" dirty="0">
                <a:solidFill>
                  <a:schemeClr val="tx1"/>
                </a:solidFill>
              </a:rPr>
              <a:t>zendingen, etc. </a:t>
            </a:r>
          </a:p>
          <a:p>
            <a:pPr marL="342900" indent="-342900">
              <a:lnSpc>
                <a:spcPts val="2200"/>
              </a:lnSpc>
              <a:buFont typeface="Arial" panose="020B0604020202020204" pitchFamily="34" charset="0"/>
              <a:buChar char="•"/>
            </a:pPr>
            <a:endParaRPr lang="nl-NL" sz="2000" dirty="0">
              <a:solidFill>
                <a:schemeClr val="tx1"/>
              </a:solidFill>
            </a:endParaRPr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90BC4B73-9229-1FDC-8DF5-5DBEB204B2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73"/>
          <a:stretch/>
        </p:blipFill>
        <p:spPr bwMode="auto">
          <a:xfrm>
            <a:off x="5621952" y="1467710"/>
            <a:ext cx="6314881" cy="2085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>
            <a:extLst>
              <a:ext uri="{FF2B5EF4-FFF2-40B4-BE49-F238E27FC236}">
                <a16:creationId xmlns:a16="http://schemas.microsoft.com/office/drawing/2014/main" id="{264DDDEA-9408-F00B-54B5-1A0832B66A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14" y="1467708"/>
            <a:ext cx="1253074" cy="2694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>
            <a:extLst>
              <a:ext uri="{FF2B5EF4-FFF2-40B4-BE49-F238E27FC236}">
                <a16:creationId xmlns:a16="http://schemas.microsoft.com/office/drawing/2014/main" id="{61B3F3C1-4810-5C28-06E8-0D40BFD2B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7541" y="3697114"/>
            <a:ext cx="2755463" cy="2910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52049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009 - SjabloonDH NL Presentatie">
  <a:themeElements>
    <a:clrScheme name="BCI Kleuren">
      <a:dk1>
        <a:sysClr val="windowText" lastClr="000000"/>
      </a:dk1>
      <a:lt1>
        <a:sysClr val="window" lastClr="FFFFFF"/>
      </a:lt1>
      <a:dk2>
        <a:srgbClr val="FFFFFF"/>
      </a:dk2>
      <a:lt2>
        <a:srgbClr val="FFFFFF"/>
      </a:lt2>
      <a:accent1>
        <a:srgbClr val="0A3A88"/>
      </a:accent1>
      <a:accent2>
        <a:srgbClr val="ACCCFF"/>
      </a:accent2>
      <a:accent3>
        <a:srgbClr val="E10E05"/>
      </a:accent3>
      <a:accent4>
        <a:srgbClr val="FEC0BB"/>
      </a:accent4>
      <a:accent5>
        <a:srgbClr val="006600"/>
      </a:accent5>
      <a:accent6>
        <a:srgbClr val="CCFF33"/>
      </a:accent6>
      <a:hlink>
        <a:srgbClr val="0A3A88"/>
      </a:hlink>
      <a:folHlink>
        <a:srgbClr val="ACCCFF"/>
      </a:folHlink>
    </a:clrScheme>
    <a:fontScheme name="2009 - SjabloonDH NL Presentat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3600" tIns="46800" rIns="936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3600" tIns="46800" rIns="93600" bIns="4680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009 - SjabloonDH NL Presentatie 1">
        <a:dk1>
          <a:srgbClr val="000000"/>
        </a:dk1>
        <a:lt1>
          <a:srgbClr val="FFFFFF"/>
        </a:lt1>
        <a:dk2>
          <a:srgbClr val="0066CC"/>
        </a:dk2>
        <a:lt2>
          <a:srgbClr val="CBCBCB"/>
        </a:lt2>
        <a:accent1>
          <a:srgbClr val="009999"/>
        </a:accent1>
        <a:accent2>
          <a:srgbClr val="FF9933"/>
        </a:accent2>
        <a:accent3>
          <a:srgbClr val="AAB8E2"/>
        </a:accent3>
        <a:accent4>
          <a:srgbClr val="DADADA"/>
        </a:accent4>
        <a:accent5>
          <a:srgbClr val="AACACA"/>
        </a:accent5>
        <a:accent6>
          <a:srgbClr val="E78A2D"/>
        </a:accent6>
        <a:hlink>
          <a:srgbClr val="330099"/>
        </a:hlink>
        <a:folHlink>
          <a:srgbClr val="CBCBC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09 - SjabloonDH NL Presentatie 2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3366FF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DB8FF"/>
        </a:accent5>
        <a:accent6>
          <a:srgbClr val="008A00"/>
        </a:accent6>
        <a:hlink>
          <a:srgbClr val="FF0033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09 - SjabloonDH NL Presentatie 3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EAEAEA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555555"/>
        </a:accent6>
        <a:hlink>
          <a:srgbClr val="969696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3 - Breedbeeld Sjabloon DH-NL Presentatie.potx" id="{C79638AA-7E19-44A7-84A5-377F4B010D65}" vid="{45D98DAD-4E39-4257-9A24-E127E578F113}"/>
    </a:ext>
  </a:extLst>
</a:theme>
</file>

<file path=ppt/theme/theme3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85ED4BBB84D44DBFD6147501416616" ma:contentTypeVersion="19" ma:contentTypeDescription="Create a new document." ma:contentTypeScope="" ma:versionID="79272529c8c3ef6b50b287e4a93563c6">
  <xsd:schema xmlns:xsd="http://www.w3.org/2001/XMLSchema" xmlns:xs="http://www.w3.org/2001/XMLSchema" xmlns:p="http://schemas.microsoft.com/office/2006/metadata/properties" xmlns:ns2="173b6627-9b8e-41dd-b791-3d4858ef2580" xmlns:ns3="2740cfac-1f25-4e7b-a27a-1c64e8824beb" targetNamespace="http://schemas.microsoft.com/office/2006/metadata/properties" ma:root="true" ma:fieldsID="88f21a4e9d8332ac3116462ba24e1e9f" ns2:_="" ns3:_="">
    <xsd:import namespace="173b6627-9b8e-41dd-b791-3d4858ef2580"/>
    <xsd:import namespace="2740cfac-1f25-4e7b-a27a-1c64e8824be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2:SharedWithUsers" minOccurs="0"/>
                <xsd:element ref="ns2:SharedWithDetails" minOccurs="0"/>
                <xsd:element ref="ns3:Dateandtime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3b6627-9b8e-41dd-b791-3d4858ef258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7" nillable="true" ma:displayName="Taxonomy Catch All Column" ma:hidden="true" ma:list="{49356dc2-a367-4475-b5da-ce14405a98c2}" ma:internalName="TaxCatchAll" ma:showField="CatchAllData" ma:web="173b6627-9b8e-41dd-b791-3d4858ef258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40cfac-1f25-4e7b-a27a-1c64e8824b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Dateandtime" ma:index="24" nillable="true" ma:displayName="Date and time" ma:format="DateTime" ma:internalName="Dateandtime">
      <xsd:simpleType>
        <xsd:restriction base="dms:DateTime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82e0e7af-df23-44ca-b406-30e70860336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73b6627-9b8e-41dd-b791-3d4858ef2580">
      <UserInfo>
        <DisplayName>Niels Prins</DisplayName>
        <AccountId>32</AccountId>
        <AccountType/>
      </UserInfo>
      <UserInfo>
        <DisplayName>Laura van Hal</DisplayName>
        <AccountId>71</AccountId>
        <AccountType/>
      </UserInfo>
      <UserInfo>
        <DisplayName>Christiaan van Luik</DisplayName>
        <AccountId>73</AccountId>
        <AccountType/>
      </UserInfo>
    </SharedWithUsers>
    <lcf76f155ced4ddcb4097134ff3c332f xmlns="2740cfac-1f25-4e7b-a27a-1c64e8824beb">
      <Terms xmlns="http://schemas.microsoft.com/office/infopath/2007/PartnerControls"/>
    </lcf76f155ced4ddcb4097134ff3c332f>
    <TaxCatchAll xmlns="173b6627-9b8e-41dd-b791-3d4858ef2580" xsi:nil="true"/>
    <Dateandtime xmlns="2740cfac-1f25-4e7b-a27a-1c64e8824beb" xsi:nil="true"/>
    <_dlc_DocId xmlns="173b6627-9b8e-41dd-b791-3d4858ef2580">4MK4UQRUV2RW-917601691-371702</_dlc_DocId>
    <_dlc_DocIdUrl xmlns="173b6627-9b8e-41dd-b791-3d4858ef2580">
      <Url>https://bciglobal.sharepoint.com/sites/Projects/_layouts/15/DocIdRedir.aspx?ID=4MK4UQRUV2RW-917601691-371702</Url>
      <Description>4MK4UQRUV2RW-917601691-371702</Description>
    </_dlc_DocIdUrl>
  </documentManagement>
</p:properties>
</file>

<file path=customXml/itemProps1.xml><?xml version="1.0" encoding="utf-8"?>
<ds:datastoreItem xmlns:ds="http://schemas.openxmlformats.org/officeDocument/2006/customXml" ds:itemID="{CFDC7E0B-A398-4717-8722-A643B76A0F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3b6627-9b8e-41dd-b791-3d4858ef2580"/>
    <ds:schemaRef ds:uri="2740cfac-1f25-4e7b-a27a-1c64e8824b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71529BF-8E4D-422F-8ED5-011FA132FA2D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2E112AAB-B2F6-48A1-A6B0-AA103ACAB60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87A007A-B8AC-4FF1-9004-4C39F6F8D2C2}">
  <ds:schemaRefs>
    <ds:schemaRef ds:uri="173b6627-9b8e-41dd-b791-3d4858ef2580"/>
    <ds:schemaRef ds:uri="2740cfac-1f25-4e7b-a27a-1c64e8824b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62a2e432-7798-411d-9406-4b91bb9e367f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 - Breedbeeld Sjabloon DH-NL Presentatie</Template>
  <TotalTime>0</TotalTime>
  <Words>479</Words>
  <Application>Microsoft Office PowerPoint</Application>
  <PresentationFormat>Custom</PresentationFormat>
  <Paragraphs>107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Book Antiqua</vt:lpstr>
      <vt:lpstr>Calibri</vt:lpstr>
      <vt:lpstr>Calibri Light</vt:lpstr>
      <vt:lpstr>Symbol</vt:lpstr>
      <vt:lpstr>Times New Roman</vt:lpstr>
      <vt:lpstr>Wingdings</vt:lpstr>
      <vt:lpstr>Kantoorthema</vt:lpstr>
      <vt:lpstr>2009 - SjabloonDH NL Presentatie</vt:lpstr>
      <vt:lpstr>think-cell Slide</vt:lpstr>
      <vt:lpstr>PowerPoint Presentation</vt:lpstr>
      <vt:lpstr>Verhaallijn</vt:lpstr>
      <vt:lpstr>Scope van dit project</vt:lpstr>
      <vt:lpstr>Dynamiek Bouwlogistiek en Mobiele werktuigen</vt:lpstr>
      <vt:lpstr>De Living Labs</vt:lpstr>
      <vt:lpstr>Living Lab Toren Niko</vt:lpstr>
      <vt:lpstr>Living Lab GWW</vt:lpstr>
      <vt:lpstr>Living Lab Katendrecht</vt:lpstr>
      <vt:lpstr>Hoe gaan we te werk?</vt:lpstr>
      <vt:lpstr>De uitdagingen</vt:lpstr>
      <vt:lpstr>Waarom meedo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ultants  Team Emissiemonitoring</dc:title>
  <dc:creator>Christiaan van Luik</dc:creator>
  <cp:lastModifiedBy>Christiaan van Luik</cp:lastModifiedBy>
  <cp:revision>3</cp:revision>
  <cp:lastPrinted>1998-02-13T09:37:38Z</cp:lastPrinted>
  <dcterms:created xsi:type="dcterms:W3CDTF">2023-01-30T12:28:46Z</dcterms:created>
  <dcterms:modified xsi:type="dcterms:W3CDTF">2023-06-22T07:4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85ED4BBB84D44DBFD6147501416616</vt:lpwstr>
  </property>
  <property fmtid="{D5CDD505-2E9C-101B-9397-08002B2CF9AE}" pid="3" name="_dlc_DocIdItemGuid">
    <vt:lpwstr>30f7ab86-e1f4-4820-aebd-4bbd38d7455e</vt:lpwstr>
  </property>
  <property fmtid="{D5CDD505-2E9C-101B-9397-08002B2CF9AE}" pid="4" name="MediaServiceImageTags">
    <vt:lpwstr/>
  </property>
</Properties>
</file>